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ppt/notesSlides/notesSlide6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64.xml" ContentType="application/vnd.openxmlformats-officedocument.presentationml.notesSlide+xml"/>
  <Override PartName="/ppt/notesSlides/notesSlide65.xml" ContentType="application/vnd.openxmlformats-officedocument.presentationml.notesSlide+xml"/>
  <Override PartName="/ppt/notesSlides/notesSlide66.xml" ContentType="application/vnd.openxmlformats-officedocument.presentationml.notesSlide+xml"/>
  <Override PartName="/ppt/notesSlides/notesSlide67.xml" ContentType="application/vnd.openxmlformats-officedocument.presentationml.notesSlide+xml"/>
  <Override PartName="/ppt/notesSlides/notesSlide68.xml" ContentType="application/vnd.openxmlformats-officedocument.presentationml.notesSlide+xml"/>
  <Override PartName="/ppt/notesSlides/notesSlide69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70.xml" ContentType="application/vnd.openxmlformats-officedocument.presentationml.notesSlide+xml"/>
  <Override PartName="/ppt/notesSlides/notesSlide71.xml" ContentType="application/vnd.openxmlformats-officedocument.presentationml.notesSlide+xml"/>
  <Override PartName="/ppt/notesSlides/notesSlide72.xml" ContentType="application/vnd.openxmlformats-officedocument.presentationml.notesSlide+xml"/>
  <Override PartName="/ppt/notesSlides/notesSlide73.xml" ContentType="application/vnd.openxmlformats-officedocument.presentationml.notesSlide+xml"/>
  <Override PartName="/ppt/notesSlides/notesSlide74.xml" ContentType="application/vnd.openxmlformats-officedocument.presentationml.notesSlide+xml"/>
  <Override PartName="/ppt/notesSlides/notesSlide75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76.xml" ContentType="application/vnd.openxmlformats-officedocument.presentationml.notesSlide+xml"/>
  <Override PartName="/ppt/notesSlides/notesSlide77.xml" ContentType="application/vnd.openxmlformats-officedocument.presentationml.notesSlide+xml"/>
  <Override PartName="/ppt/notesSlides/notesSlide78.xml" ContentType="application/vnd.openxmlformats-officedocument.presentationml.notesSlide+xml"/>
  <Override PartName="/ppt/notesSlides/notesSlide79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notesSlides/notesSlide80.xml" ContentType="application/vnd.openxmlformats-officedocument.presentationml.notesSlide+xml"/>
  <Override PartName="/ppt/notesSlides/notesSlide81.xml" ContentType="application/vnd.openxmlformats-officedocument.presentationml.notesSlide+xml"/>
  <Override PartName="/ppt/notesSlides/notesSlide82.xml" ContentType="application/vnd.openxmlformats-officedocument.presentationml.notesSlide+xml"/>
  <Override PartName="/ppt/notesSlides/notesSlide83.xml" ContentType="application/vnd.openxmlformats-officedocument.presentationml.notesSlide+xml"/>
  <Override PartName="/ppt/notesSlides/notesSlide84.xml" ContentType="application/vnd.openxmlformats-officedocument.presentationml.notesSlide+xml"/>
  <Override PartName="/ppt/notesSlides/notesSlide85.xml" ContentType="application/vnd.openxmlformats-officedocument.presentationml.notesSl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notesSlides/notesSlide86.xml" ContentType="application/vnd.openxmlformats-officedocument.presentationml.notesSlide+xml"/>
  <Override PartName="/ppt/notesSlides/notesSlide87.xml" ContentType="application/vnd.openxmlformats-officedocument.presentationml.notesSlide+xml"/>
  <Override PartName="/ppt/notesSlides/notesSlide88.xml" ContentType="application/vnd.openxmlformats-officedocument.presentationml.notesSlide+xml"/>
  <Override PartName="/ppt/notesSlides/notesSlide89.xml" ContentType="application/vnd.openxmlformats-officedocument.presentationml.notesSlide+xml"/>
  <Override PartName="/ppt/notesSlides/notesSlide90.xml" ContentType="application/vnd.openxmlformats-officedocument.presentationml.notesSlide+xml"/>
  <Override PartName="/ppt/notesSlides/notesSlide91.xml" ContentType="application/vnd.openxmlformats-officedocument.presentationml.notesSlide+xml"/>
  <Override PartName="/ppt/notesSlides/notesSlide92.xml" ContentType="application/vnd.openxmlformats-officedocument.presentationml.notesSlide+xml"/>
  <Override PartName="/ppt/notesSlides/notesSlide93.xml" ContentType="application/vnd.openxmlformats-officedocument.presentationml.notesSlide+xml"/>
  <Override PartName="/ppt/notesSlides/notesSlide94.xml" ContentType="application/vnd.openxmlformats-officedocument.presentationml.notesSlide+xml"/>
  <Override PartName="/ppt/notesSlides/notesSlide95.xml" ContentType="application/vnd.openxmlformats-officedocument.presentationml.notesSlide+xml"/>
  <Override PartName="/ppt/notesSlides/notesSlide96.xml" ContentType="application/vnd.openxmlformats-officedocument.presentationml.notesSlide+xml"/>
  <Override PartName="/ppt/notesSlides/notesSlide97.xml" ContentType="application/vnd.openxmlformats-officedocument.presentationml.notesSlide+xml"/>
  <Override PartName="/ppt/notesSlides/notesSlide98.xml" ContentType="application/vnd.openxmlformats-officedocument.presentationml.notesSlide+xml"/>
  <Override PartName="/ppt/notesSlides/notesSlide99.xml" ContentType="application/vnd.openxmlformats-officedocument.presentationml.notesSlide+xml"/>
  <Override PartName="/ppt/notesSlides/notesSlide10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10"/>
  </p:notesMasterIdLst>
  <p:sldIdLst>
    <p:sldId id="842" r:id="rId2"/>
    <p:sldId id="799" r:id="rId3"/>
    <p:sldId id="839" r:id="rId4"/>
    <p:sldId id="724" r:id="rId5"/>
    <p:sldId id="878" r:id="rId6"/>
    <p:sldId id="767" r:id="rId7"/>
    <p:sldId id="769" r:id="rId8"/>
    <p:sldId id="892" r:id="rId9"/>
    <p:sldId id="891" r:id="rId10"/>
    <p:sldId id="881" r:id="rId11"/>
    <p:sldId id="893" r:id="rId12"/>
    <p:sldId id="887" r:id="rId13"/>
    <p:sldId id="868" r:id="rId14"/>
    <p:sldId id="798" r:id="rId15"/>
    <p:sldId id="879" r:id="rId16"/>
    <p:sldId id="866" r:id="rId17"/>
    <p:sldId id="872" r:id="rId18"/>
    <p:sldId id="975" r:id="rId19"/>
    <p:sldId id="642" r:id="rId20"/>
    <p:sldId id="880" r:id="rId21"/>
    <p:sldId id="896" r:id="rId22"/>
    <p:sldId id="928" r:id="rId23"/>
    <p:sldId id="912" r:id="rId24"/>
    <p:sldId id="786" r:id="rId25"/>
    <p:sldId id="913" r:id="rId26"/>
    <p:sldId id="918" r:id="rId27"/>
    <p:sldId id="917" r:id="rId28"/>
    <p:sldId id="919" r:id="rId29"/>
    <p:sldId id="920" r:id="rId30"/>
    <p:sldId id="927" r:id="rId31"/>
    <p:sldId id="921" r:id="rId32"/>
    <p:sldId id="922" r:id="rId33"/>
    <p:sldId id="976" r:id="rId34"/>
    <p:sldId id="983" r:id="rId35"/>
    <p:sldId id="990" r:id="rId36"/>
    <p:sldId id="997" r:id="rId37"/>
    <p:sldId id="1004" r:id="rId38"/>
    <p:sldId id="925" r:id="rId39"/>
    <p:sldId id="926" r:id="rId40"/>
    <p:sldId id="903" r:id="rId41"/>
    <p:sldId id="950" r:id="rId42"/>
    <p:sldId id="930" r:id="rId43"/>
    <p:sldId id="1005" r:id="rId44"/>
    <p:sldId id="998" r:id="rId45"/>
    <p:sldId id="991" r:id="rId46"/>
    <p:sldId id="984" r:id="rId47"/>
    <p:sldId id="977" r:id="rId48"/>
    <p:sldId id="929" r:id="rId49"/>
    <p:sldId id="931" r:id="rId50"/>
    <p:sldId id="939" r:id="rId51"/>
    <p:sldId id="941" r:id="rId52"/>
    <p:sldId id="1006" r:id="rId53"/>
    <p:sldId id="1007" r:id="rId54"/>
    <p:sldId id="940" r:id="rId55"/>
    <p:sldId id="999" r:id="rId56"/>
    <p:sldId id="1000" r:id="rId57"/>
    <p:sldId id="935" r:id="rId58"/>
    <p:sldId id="992" r:id="rId59"/>
    <p:sldId id="993" r:id="rId60"/>
    <p:sldId id="1011" r:id="rId61"/>
    <p:sldId id="1012" r:id="rId62"/>
    <p:sldId id="1013" r:id="rId63"/>
    <p:sldId id="1014" r:id="rId64"/>
    <p:sldId id="1015" r:id="rId65"/>
    <p:sldId id="1008" r:id="rId66"/>
    <p:sldId id="1010" r:id="rId67"/>
    <p:sldId id="985" r:id="rId68"/>
    <p:sldId id="1009" r:id="rId69"/>
    <p:sldId id="986" r:id="rId70"/>
    <p:sldId id="934" r:id="rId71"/>
    <p:sldId id="1001" r:id="rId72"/>
    <p:sldId id="1003" r:id="rId73"/>
    <p:sldId id="978" r:id="rId74"/>
    <p:sldId id="1002" r:id="rId75"/>
    <p:sldId id="979" r:id="rId76"/>
    <p:sldId id="936" r:id="rId77"/>
    <p:sldId id="994" r:id="rId78"/>
    <p:sldId id="996" r:id="rId79"/>
    <p:sldId id="937" r:id="rId80"/>
    <p:sldId id="995" r:id="rId81"/>
    <p:sldId id="987" r:id="rId82"/>
    <p:sldId id="989" r:id="rId83"/>
    <p:sldId id="906" r:id="rId84"/>
    <p:sldId id="988" r:id="rId85"/>
    <p:sldId id="953" r:id="rId86"/>
    <p:sldId id="967" r:id="rId87"/>
    <p:sldId id="980" r:id="rId88"/>
    <p:sldId id="982" r:id="rId89"/>
    <p:sldId id="952" r:id="rId90"/>
    <p:sldId id="981" r:id="rId91"/>
    <p:sldId id="951" r:id="rId92"/>
    <p:sldId id="974" r:id="rId93"/>
    <p:sldId id="956" r:id="rId94"/>
    <p:sldId id="958" r:id="rId95"/>
    <p:sldId id="960" r:id="rId96"/>
    <p:sldId id="962" r:id="rId97"/>
    <p:sldId id="963" r:id="rId98"/>
    <p:sldId id="964" r:id="rId99"/>
    <p:sldId id="966" r:id="rId100"/>
    <p:sldId id="969" r:id="rId101"/>
    <p:sldId id="971" r:id="rId102"/>
    <p:sldId id="972" r:id="rId103"/>
    <p:sldId id="973" r:id="rId104"/>
    <p:sldId id="908" r:id="rId105"/>
    <p:sldId id="909" r:id="rId106"/>
    <p:sldId id="910" r:id="rId107"/>
    <p:sldId id="911" r:id="rId108"/>
    <p:sldId id="765" r:id="rId10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80D6DA98-AEAD-492C-8D9C-6AB0555BD3CF}">
          <p14:sldIdLst>
            <p14:sldId id="842"/>
          </p14:sldIdLst>
        </p14:section>
        <p14:section name="00 - Introduction" id="{AA298131-FA02-4CAC-8A78-4AE77A6D61A9}">
          <p14:sldIdLst>
            <p14:sldId id="799"/>
            <p14:sldId id="839"/>
            <p14:sldId id="724"/>
            <p14:sldId id="878"/>
            <p14:sldId id="767"/>
            <p14:sldId id="769"/>
            <p14:sldId id="892"/>
          </p14:sldIdLst>
        </p14:section>
        <p14:section name="01 - Contexte général" id="{80C3AAA2-18F3-409A-90F9-512F34A5745B}">
          <p14:sldIdLst>
            <p14:sldId id="891"/>
            <p14:sldId id="881"/>
            <p14:sldId id="893"/>
            <p14:sldId id="887"/>
            <p14:sldId id="868"/>
            <p14:sldId id="798"/>
            <p14:sldId id="879"/>
            <p14:sldId id="866"/>
            <p14:sldId id="872"/>
            <p14:sldId id="975"/>
            <p14:sldId id="642"/>
            <p14:sldId id="880"/>
          </p14:sldIdLst>
        </p14:section>
        <p14:section name="02 - Distribution &amp; assortiment" id="{72E8CF37-7620-4134-83C0-2C2E4AB3F4EE}">
          <p14:sldIdLst>
            <p14:sldId id="896"/>
            <p14:sldId id="928"/>
            <p14:sldId id="912"/>
            <p14:sldId id="786"/>
            <p14:sldId id="913"/>
            <p14:sldId id="918"/>
            <p14:sldId id="917"/>
            <p14:sldId id="919"/>
            <p14:sldId id="920"/>
            <p14:sldId id="927"/>
            <p14:sldId id="921"/>
            <p14:sldId id="922"/>
            <p14:sldId id="976"/>
            <p14:sldId id="983"/>
            <p14:sldId id="990"/>
            <p14:sldId id="997"/>
            <p14:sldId id="1004"/>
            <p14:sldId id="925"/>
            <p14:sldId id="926"/>
          </p14:sldIdLst>
        </p14:section>
        <p14:section name="03 - Politique tarifaire" id="{A96CAD50-B362-4B32-9EF8-6821F94017FA}">
          <p14:sldIdLst>
            <p14:sldId id="903"/>
            <p14:sldId id="950"/>
            <p14:sldId id="930"/>
            <p14:sldId id="1005"/>
            <p14:sldId id="998"/>
            <p14:sldId id="991"/>
            <p14:sldId id="984"/>
            <p14:sldId id="977"/>
            <p14:sldId id="929"/>
            <p14:sldId id="931"/>
            <p14:sldId id="939"/>
            <p14:sldId id="941"/>
            <p14:sldId id="1006"/>
            <p14:sldId id="1007"/>
            <p14:sldId id="940"/>
            <p14:sldId id="999"/>
            <p14:sldId id="1000"/>
            <p14:sldId id="935"/>
            <p14:sldId id="992"/>
            <p14:sldId id="993"/>
            <p14:sldId id="1011"/>
            <p14:sldId id="1012"/>
            <p14:sldId id="1013"/>
            <p14:sldId id="1014"/>
            <p14:sldId id="1015"/>
            <p14:sldId id="1008"/>
            <p14:sldId id="1010"/>
            <p14:sldId id="985"/>
            <p14:sldId id="1009"/>
            <p14:sldId id="986"/>
            <p14:sldId id="934"/>
            <p14:sldId id="1001"/>
            <p14:sldId id="1003"/>
            <p14:sldId id="978"/>
            <p14:sldId id="1002"/>
            <p14:sldId id="979"/>
            <p14:sldId id="936"/>
            <p14:sldId id="994"/>
            <p14:sldId id="996"/>
            <p14:sldId id="937"/>
            <p14:sldId id="995"/>
            <p14:sldId id="987"/>
            <p14:sldId id="989"/>
          </p14:sldIdLst>
        </p14:section>
        <p14:section name="04 - Analyse promotionnelle" id="{AB1FCE53-871B-45B2-8498-22460D72E0C4}">
          <p14:sldIdLst>
            <p14:sldId id="906"/>
            <p14:sldId id="988"/>
            <p14:sldId id="953"/>
            <p14:sldId id="967"/>
            <p14:sldId id="980"/>
            <p14:sldId id="982"/>
            <p14:sldId id="952"/>
            <p14:sldId id="981"/>
            <p14:sldId id="951"/>
            <p14:sldId id="974"/>
            <p14:sldId id="956"/>
            <p14:sldId id="958"/>
            <p14:sldId id="960"/>
            <p14:sldId id="962"/>
            <p14:sldId id="963"/>
            <p14:sldId id="964"/>
            <p14:sldId id="966"/>
            <p14:sldId id="969"/>
            <p14:sldId id="971"/>
            <p14:sldId id="972"/>
            <p14:sldId id="973"/>
          </p14:sldIdLst>
        </p14:section>
        <p14:section name="05 - Disponibilité et ruptures" id="{E8076E1E-1AF8-4244-B229-2CC285D15A49}">
          <p14:sldIdLst>
            <p14:sldId id="908"/>
            <p14:sldId id="909"/>
          </p14:sldIdLst>
        </p14:section>
        <p14:section name="06 - Territoires commerciaux" id="{A1E386E8-9D42-48A4-815A-02CCCFDE9837}">
          <p14:sldIdLst>
            <p14:sldId id="910"/>
            <p14:sldId id="911"/>
          </p14:sldIdLst>
        </p14:section>
        <p14:section name="INSPI" id="{D4E7A180-6426-474D-B763-F05EC40D54AA}">
          <p14:sldIdLst>
            <p14:sldId id="76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FD1CE"/>
    <a:srgbClr val="D2F3F2"/>
    <a:srgbClr val="FFFFFF"/>
    <a:srgbClr val="000000"/>
    <a:srgbClr val="E4E7F8"/>
    <a:srgbClr val="D9D9D9"/>
    <a:srgbClr val="576CD4"/>
    <a:srgbClr val="E77E8A"/>
    <a:srgbClr val="F2F2F2"/>
    <a:srgbClr val="D6283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9040" autoAdjust="0"/>
    <p:restoredTop sz="96081" autoAdjust="0"/>
  </p:normalViewPr>
  <p:slideViewPr>
    <p:cSldViewPr snapToGrid="0">
      <p:cViewPr varScale="1">
        <p:scale>
          <a:sx n="78" d="100"/>
          <a:sy n="78" d="100"/>
        </p:scale>
        <p:origin x="96" y="618"/>
      </p:cViewPr>
      <p:guideLst>
        <p:guide orient="horz" pos="2160"/>
        <p:guide pos="384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slide" Target="slides/slide83.xml"/><Relationship Id="rId89" Type="http://schemas.openxmlformats.org/officeDocument/2006/relationships/slide" Target="slides/slide88.xml"/><Relationship Id="rId112" Type="http://schemas.openxmlformats.org/officeDocument/2006/relationships/viewProps" Target="viewProps.xml"/><Relationship Id="rId16" Type="http://schemas.openxmlformats.org/officeDocument/2006/relationships/slide" Target="slides/slide15.xml"/><Relationship Id="rId107" Type="http://schemas.openxmlformats.org/officeDocument/2006/relationships/slide" Target="slides/slide106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102" Type="http://schemas.openxmlformats.org/officeDocument/2006/relationships/slide" Target="slides/slide101.xml"/><Relationship Id="rId5" Type="http://schemas.openxmlformats.org/officeDocument/2006/relationships/slide" Target="slides/slide4.xml"/><Relationship Id="rId90" Type="http://schemas.openxmlformats.org/officeDocument/2006/relationships/slide" Target="slides/slide89.xml"/><Relationship Id="rId95" Type="http://schemas.openxmlformats.org/officeDocument/2006/relationships/slide" Target="slides/slide94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113" Type="http://schemas.openxmlformats.org/officeDocument/2006/relationships/theme" Target="theme/theme1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59" Type="http://schemas.openxmlformats.org/officeDocument/2006/relationships/slide" Target="slides/slide58.xml"/><Relationship Id="rId103" Type="http://schemas.openxmlformats.org/officeDocument/2006/relationships/slide" Target="slides/slide102.xml"/><Relationship Id="rId108" Type="http://schemas.openxmlformats.org/officeDocument/2006/relationships/slide" Target="slides/slide107.xml"/><Relationship Id="rId54" Type="http://schemas.openxmlformats.org/officeDocument/2006/relationships/slide" Target="slides/slide53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91" Type="http://schemas.openxmlformats.org/officeDocument/2006/relationships/slide" Target="slides/slide90.xml"/><Relationship Id="rId96" Type="http://schemas.openxmlformats.org/officeDocument/2006/relationships/slide" Target="slides/slide9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6" Type="http://schemas.openxmlformats.org/officeDocument/2006/relationships/slide" Target="slides/slide105.xml"/><Relationship Id="rId114" Type="http://schemas.openxmlformats.org/officeDocument/2006/relationships/tableStyles" Target="tableStyles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94" Type="http://schemas.openxmlformats.org/officeDocument/2006/relationships/slide" Target="slides/slide93.xml"/><Relationship Id="rId99" Type="http://schemas.openxmlformats.org/officeDocument/2006/relationships/slide" Target="slides/slide98.xml"/><Relationship Id="rId101" Type="http://schemas.openxmlformats.org/officeDocument/2006/relationships/slide" Target="slides/slide10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109" Type="http://schemas.openxmlformats.org/officeDocument/2006/relationships/slide" Target="slides/slide10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97" Type="http://schemas.openxmlformats.org/officeDocument/2006/relationships/slide" Target="slides/slide96.xml"/><Relationship Id="rId104" Type="http://schemas.openxmlformats.org/officeDocument/2006/relationships/slide" Target="slides/slide103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slide" Target="slides/slide91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slide" Target="slides/slide86.xml"/><Relationship Id="rId110" Type="http://schemas.openxmlformats.org/officeDocument/2006/relationships/notesMaster" Target="notesMasters/notesMaster1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56" Type="http://schemas.openxmlformats.org/officeDocument/2006/relationships/slide" Target="slides/slide55.xml"/><Relationship Id="rId77" Type="http://schemas.openxmlformats.org/officeDocument/2006/relationships/slide" Target="slides/slide76.xml"/><Relationship Id="rId100" Type="http://schemas.openxmlformats.org/officeDocument/2006/relationships/slide" Target="slides/slide99.xml"/><Relationship Id="rId105" Type="http://schemas.openxmlformats.org/officeDocument/2006/relationships/slide" Target="slides/slide104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93" Type="http://schemas.openxmlformats.org/officeDocument/2006/relationships/slide" Target="slides/slide92.xml"/><Relationship Id="rId98" Type="http://schemas.openxmlformats.org/officeDocument/2006/relationships/slide" Target="slides/slide97.xml"/><Relationship Id="rId3" Type="http://schemas.openxmlformats.org/officeDocument/2006/relationships/slide" Target="slides/slide2.xml"/><Relationship Id="rId25" Type="http://schemas.openxmlformats.org/officeDocument/2006/relationships/slide" Target="slides/slide24.xml"/><Relationship Id="rId46" Type="http://schemas.openxmlformats.org/officeDocument/2006/relationships/slide" Target="slides/slide45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62" Type="http://schemas.openxmlformats.org/officeDocument/2006/relationships/slide" Target="slides/slide61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111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spirits_study\src\templates\SAMMPO\master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spirits_study\src\templates\SAMMPO\master.xlsx" TargetMode="External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spirits_study\src\templates\SAMMPO\master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spirits_study\src\templates\SAMMPO\master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spirits_study\src\templates\SAMMPO\master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spirits_study\src\templates\SAMMPO\master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spirits_study\src\templates\SAMMPO\master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spirits_study\src\templates\SAMMPO\master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spirits_study\src\templates\SAMMPO\master.xlsx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spirits_study\src\templates\SAMMPO\master.xlsx" TargetMode="External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2403286317403983E-2"/>
          <c:y val="3.4310766844797315E-2"/>
          <c:w val="0.8498689629352304"/>
          <c:h val="0.740812487499587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D0 - Promotions'!$CR$5</c:f>
              <c:strCache>
                <c:ptCount val="1"/>
                <c:pt idx="0">
                  <c:v>Promo %</c:v>
                </c:pt>
              </c:strCache>
            </c:strRef>
          </c:tx>
          <c:spPr>
            <a:solidFill>
              <a:srgbClr val="868A96">
                <a:alpha val="20000"/>
              </a:srgbClr>
            </a:solidFill>
            <a:ln>
              <a:noFill/>
            </a:ln>
            <a:effectLst/>
          </c:spPr>
          <c:invertIfNegative val="0"/>
          <c:dLbls>
            <c:numFmt formatCode="0%;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D0 - Promotions'!$CQ$6:$CQ$17</c:f>
              <c:numCache>
                <c:formatCode>General</c:formatCode>
                <c:ptCount val="12"/>
                <c:pt idx="0">
                  <c:v>20250616</c:v>
                </c:pt>
                <c:pt idx="1">
                  <c:v>20250623</c:v>
                </c:pt>
                <c:pt idx="2">
                  <c:v>20250630</c:v>
                </c:pt>
                <c:pt idx="3">
                  <c:v>20250707</c:v>
                </c:pt>
                <c:pt idx="4">
                  <c:v>20250714</c:v>
                </c:pt>
                <c:pt idx="5">
                  <c:v>20250721</c:v>
                </c:pt>
                <c:pt idx="6">
                  <c:v>20250728</c:v>
                </c:pt>
                <c:pt idx="7">
                  <c:v>20250804</c:v>
                </c:pt>
                <c:pt idx="8">
                  <c:v>20250811</c:v>
                </c:pt>
                <c:pt idx="9">
                  <c:v>20250818</c:v>
                </c:pt>
                <c:pt idx="10">
                  <c:v>20250825</c:v>
                </c:pt>
                <c:pt idx="11">
                  <c:v>20250901</c:v>
                </c:pt>
              </c:numCache>
            </c:numRef>
          </c:cat>
          <c:val>
            <c:numRef>
              <c:f>'D0 - Promotions'!$CR$6:$CR$17</c:f>
              <c:numCache>
                <c:formatCode>0%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.82222222222222219</c:v>
                </c:pt>
                <c:pt idx="4">
                  <c:v>0.75862068965517238</c:v>
                </c:pt>
                <c:pt idx="5">
                  <c:v>0.19230769230769232</c:v>
                </c:pt>
                <c:pt idx="6">
                  <c:v>0.36363636363636365</c:v>
                </c:pt>
                <c:pt idx="7">
                  <c:v>0.2982456140350877</c:v>
                </c:pt>
                <c:pt idx="8">
                  <c:v>0.32038834951456313</c:v>
                </c:pt>
                <c:pt idx="9">
                  <c:v>0.11764705882352941</c:v>
                </c:pt>
                <c:pt idx="10">
                  <c:v>0.18478260869565216</c:v>
                </c:pt>
                <c:pt idx="1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9EA-4AE6-8901-A1FCBEE730F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-27"/>
        <c:axId val="1543007695"/>
        <c:axId val="1543015375"/>
      </c:barChart>
      <c:catAx>
        <c:axId val="154300769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543015375"/>
        <c:crosses val="autoZero"/>
        <c:auto val="1"/>
        <c:lblAlgn val="ctr"/>
        <c:lblOffset val="100"/>
        <c:noMultiLvlLbl val="0"/>
      </c:catAx>
      <c:valAx>
        <c:axId val="1543015375"/>
        <c:scaling>
          <c:orientation val="minMax"/>
          <c:max val="1"/>
          <c:min val="0"/>
        </c:scaling>
        <c:delete val="1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FR" b="1" dirty="0"/>
                  <a:t>Part</a:t>
                </a:r>
                <a:r>
                  <a:rPr lang="fr-FR" b="1" baseline="0" dirty="0"/>
                  <a:t> des magasins adressés en promotion</a:t>
                </a:r>
                <a:endParaRPr lang="fr-FR" b="1" dirty="0"/>
              </a:p>
            </c:rich>
          </c:tx>
          <c:layout>
            <c:manualLayout>
              <c:xMode val="edge"/>
              <c:yMode val="edge"/>
              <c:x val="0.96469336574297915"/>
              <c:y val="7.0872327791105402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0%" sourceLinked="1"/>
        <c:majorTickMark val="none"/>
        <c:minorTickMark val="none"/>
        <c:tickLblPos val="high"/>
        <c:crossAx val="154300769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200"/>
      </a:pPr>
      <a:endParaRPr lang="fr-FR"/>
    </a:p>
  </c:txPr>
  <c:externalData r:id="rId3">
    <c:autoUpdate val="1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ubbleChart>
        <c:varyColors val="0"/>
        <c:ser>
          <c:idx val="0"/>
          <c:order val="0"/>
          <c:tx>
            <c:strRef>
              <c:f>'D0 - Promotions'!$CM$5</c:f>
              <c:strCache>
                <c:ptCount val="1"/>
                <c:pt idx="0">
                  <c:v>Y = Prix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 w="57150">
              <a:solidFill>
                <a:schemeClr val="tx2">
                  <a:lumMod val="60000"/>
                  <a:lumOff val="40000"/>
                </a:schemeClr>
              </a:solidFill>
            </a:ln>
            <a:effectLst/>
          </c:spPr>
          <c:invertIfNegative val="0"/>
          <c:xVal>
            <c:numRef>
              <c:f>'D0 - Promotions'!$CL$6:$CL$245</c:f>
              <c:numCache>
                <c:formatCode>General</c:formatCode>
                <c:ptCount val="24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2</c:v>
                </c:pt>
                <c:pt idx="21">
                  <c:v>2</c:v>
                </c:pt>
                <c:pt idx="22">
                  <c:v>2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2</c:v>
                </c:pt>
                <c:pt idx="28">
                  <c:v>2</c:v>
                </c:pt>
                <c:pt idx="29">
                  <c:v>2</c:v>
                </c:pt>
                <c:pt idx="30">
                  <c:v>2</c:v>
                </c:pt>
                <c:pt idx="31">
                  <c:v>2</c:v>
                </c:pt>
                <c:pt idx="32">
                  <c:v>2</c:v>
                </c:pt>
                <c:pt idx="33">
                  <c:v>2</c:v>
                </c:pt>
                <c:pt idx="34">
                  <c:v>2</c:v>
                </c:pt>
                <c:pt idx="35">
                  <c:v>2</c:v>
                </c:pt>
                <c:pt idx="36">
                  <c:v>2</c:v>
                </c:pt>
                <c:pt idx="37">
                  <c:v>2</c:v>
                </c:pt>
                <c:pt idx="38">
                  <c:v>2</c:v>
                </c:pt>
                <c:pt idx="39">
                  <c:v>2</c:v>
                </c:pt>
                <c:pt idx="40">
                  <c:v>3</c:v>
                </c:pt>
                <c:pt idx="41">
                  <c:v>3</c:v>
                </c:pt>
                <c:pt idx="42">
                  <c:v>3</c:v>
                </c:pt>
                <c:pt idx="43">
                  <c:v>3</c:v>
                </c:pt>
                <c:pt idx="44">
                  <c:v>3</c:v>
                </c:pt>
                <c:pt idx="45">
                  <c:v>3</c:v>
                </c:pt>
                <c:pt idx="46">
                  <c:v>3</c:v>
                </c:pt>
                <c:pt idx="47">
                  <c:v>3</c:v>
                </c:pt>
                <c:pt idx="48">
                  <c:v>3</c:v>
                </c:pt>
                <c:pt idx="49">
                  <c:v>3</c:v>
                </c:pt>
                <c:pt idx="50">
                  <c:v>3</c:v>
                </c:pt>
                <c:pt idx="51">
                  <c:v>3</c:v>
                </c:pt>
                <c:pt idx="52">
                  <c:v>3</c:v>
                </c:pt>
                <c:pt idx="53">
                  <c:v>3</c:v>
                </c:pt>
                <c:pt idx="54">
                  <c:v>3</c:v>
                </c:pt>
                <c:pt idx="55">
                  <c:v>3</c:v>
                </c:pt>
                <c:pt idx="56">
                  <c:v>3</c:v>
                </c:pt>
                <c:pt idx="57">
                  <c:v>3</c:v>
                </c:pt>
                <c:pt idx="58">
                  <c:v>3</c:v>
                </c:pt>
                <c:pt idx="59">
                  <c:v>3</c:v>
                </c:pt>
                <c:pt idx="60">
                  <c:v>4</c:v>
                </c:pt>
                <c:pt idx="61">
                  <c:v>4</c:v>
                </c:pt>
                <c:pt idx="62">
                  <c:v>4</c:v>
                </c:pt>
                <c:pt idx="63">
                  <c:v>4</c:v>
                </c:pt>
                <c:pt idx="64">
                  <c:v>4</c:v>
                </c:pt>
                <c:pt idx="65">
                  <c:v>4</c:v>
                </c:pt>
                <c:pt idx="66">
                  <c:v>4</c:v>
                </c:pt>
                <c:pt idx="67">
                  <c:v>4</c:v>
                </c:pt>
                <c:pt idx="68">
                  <c:v>4</c:v>
                </c:pt>
                <c:pt idx="69">
                  <c:v>4</c:v>
                </c:pt>
                <c:pt idx="70">
                  <c:v>4</c:v>
                </c:pt>
                <c:pt idx="71">
                  <c:v>4</c:v>
                </c:pt>
                <c:pt idx="72">
                  <c:v>4</c:v>
                </c:pt>
                <c:pt idx="73">
                  <c:v>4</c:v>
                </c:pt>
                <c:pt idx="74">
                  <c:v>4</c:v>
                </c:pt>
                <c:pt idx="75">
                  <c:v>4</c:v>
                </c:pt>
                <c:pt idx="76">
                  <c:v>4</c:v>
                </c:pt>
                <c:pt idx="77">
                  <c:v>4</c:v>
                </c:pt>
                <c:pt idx="78">
                  <c:v>4</c:v>
                </c:pt>
                <c:pt idx="79">
                  <c:v>4</c:v>
                </c:pt>
                <c:pt idx="80">
                  <c:v>5</c:v>
                </c:pt>
                <c:pt idx="81">
                  <c:v>5</c:v>
                </c:pt>
                <c:pt idx="82">
                  <c:v>5</c:v>
                </c:pt>
                <c:pt idx="83">
                  <c:v>5</c:v>
                </c:pt>
                <c:pt idx="84">
                  <c:v>5</c:v>
                </c:pt>
                <c:pt idx="85">
                  <c:v>5</c:v>
                </c:pt>
                <c:pt idx="86">
                  <c:v>5</c:v>
                </c:pt>
                <c:pt idx="87">
                  <c:v>5</c:v>
                </c:pt>
                <c:pt idx="88">
                  <c:v>5</c:v>
                </c:pt>
                <c:pt idx="89">
                  <c:v>5</c:v>
                </c:pt>
                <c:pt idx="90">
                  <c:v>5</c:v>
                </c:pt>
                <c:pt idx="91">
                  <c:v>5</c:v>
                </c:pt>
                <c:pt idx="92">
                  <c:v>5</c:v>
                </c:pt>
                <c:pt idx="93">
                  <c:v>5</c:v>
                </c:pt>
                <c:pt idx="94">
                  <c:v>5</c:v>
                </c:pt>
                <c:pt idx="95">
                  <c:v>5</c:v>
                </c:pt>
                <c:pt idx="96">
                  <c:v>5</c:v>
                </c:pt>
                <c:pt idx="97">
                  <c:v>5</c:v>
                </c:pt>
                <c:pt idx="98">
                  <c:v>5</c:v>
                </c:pt>
                <c:pt idx="99">
                  <c:v>5</c:v>
                </c:pt>
                <c:pt idx="100">
                  <c:v>6</c:v>
                </c:pt>
                <c:pt idx="101">
                  <c:v>6</c:v>
                </c:pt>
                <c:pt idx="102">
                  <c:v>6</c:v>
                </c:pt>
                <c:pt idx="103">
                  <c:v>6</c:v>
                </c:pt>
                <c:pt idx="104">
                  <c:v>6</c:v>
                </c:pt>
                <c:pt idx="105">
                  <c:v>6</c:v>
                </c:pt>
                <c:pt idx="106">
                  <c:v>6</c:v>
                </c:pt>
                <c:pt idx="107">
                  <c:v>6</c:v>
                </c:pt>
                <c:pt idx="108">
                  <c:v>6</c:v>
                </c:pt>
                <c:pt idx="109">
                  <c:v>6</c:v>
                </c:pt>
                <c:pt idx="110">
                  <c:v>6</c:v>
                </c:pt>
                <c:pt idx="111">
                  <c:v>6</c:v>
                </c:pt>
                <c:pt idx="112">
                  <c:v>6</c:v>
                </c:pt>
                <c:pt idx="113">
                  <c:v>6</c:v>
                </c:pt>
                <c:pt idx="114">
                  <c:v>6</c:v>
                </c:pt>
                <c:pt idx="115">
                  <c:v>6</c:v>
                </c:pt>
                <c:pt idx="116">
                  <c:v>6</c:v>
                </c:pt>
                <c:pt idx="117">
                  <c:v>6</c:v>
                </c:pt>
                <c:pt idx="118">
                  <c:v>6</c:v>
                </c:pt>
                <c:pt idx="119">
                  <c:v>6</c:v>
                </c:pt>
                <c:pt idx="120">
                  <c:v>7</c:v>
                </c:pt>
                <c:pt idx="121">
                  <c:v>7</c:v>
                </c:pt>
                <c:pt idx="122">
                  <c:v>7</c:v>
                </c:pt>
                <c:pt idx="123">
                  <c:v>7</c:v>
                </c:pt>
                <c:pt idx="124">
                  <c:v>7</c:v>
                </c:pt>
                <c:pt idx="125">
                  <c:v>7</c:v>
                </c:pt>
                <c:pt idx="126">
                  <c:v>7</c:v>
                </c:pt>
                <c:pt idx="127">
                  <c:v>7</c:v>
                </c:pt>
                <c:pt idx="128">
                  <c:v>7</c:v>
                </c:pt>
                <c:pt idx="129">
                  <c:v>7</c:v>
                </c:pt>
                <c:pt idx="130">
                  <c:v>7</c:v>
                </c:pt>
                <c:pt idx="131">
                  <c:v>7</c:v>
                </c:pt>
                <c:pt idx="132">
                  <c:v>7</c:v>
                </c:pt>
                <c:pt idx="133">
                  <c:v>7</c:v>
                </c:pt>
                <c:pt idx="134">
                  <c:v>7</c:v>
                </c:pt>
                <c:pt idx="135">
                  <c:v>7</c:v>
                </c:pt>
                <c:pt idx="136">
                  <c:v>7</c:v>
                </c:pt>
                <c:pt idx="137">
                  <c:v>7</c:v>
                </c:pt>
                <c:pt idx="138">
                  <c:v>7</c:v>
                </c:pt>
                <c:pt idx="139">
                  <c:v>7</c:v>
                </c:pt>
                <c:pt idx="140">
                  <c:v>8</c:v>
                </c:pt>
                <c:pt idx="141">
                  <c:v>8</c:v>
                </c:pt>
                <c:pt idx="142">
                  <c:v>8</c:v>
                </c:pt>
                <c:pt idx="143">
                  <c:v>8</c:v>
                </c:pt>
                <c:pt idx="144">
                  <c:v>8</c:v>
                </c:pt>
                <c:pt idx="145">
                  <c:v>8</c:v>
                </c:pt>
                <c:pt idx="146">
                  <c:v>8</c:v>
                </c:pt>
                <c:pt idx="147">
                  <c:v>8</c:v>
                </c:pt>
                <c:pt idx="148">
                  <c:v>8</c:v>
                </c:pt>
                <c:pt idx="149">
                  <c:v>8</c:v>
                </c:pt>
                <c:pt idx="150">
                  <c:v>8</c:v>
                </c:pt>
                <c:pt idx="151">
                  <c:v>8</c:v>
                </c:pt>
                <c:pt idx="152">
                  <c:v>8</c:v>
                </c:pt>
                <c:pt idx="153">
                  <c:v>8</c:v>
                </c:pt>
                <c:pt idx="154">
                  <c:v>8</c:v>
                </c:pt>
                <c:pt idx="155">
                  <c:v>8</c:v>
                </c:pt>
                <c:pt idx="156">
                  <c:v>8</c:v>
                </c:pt>
                <c:pt idx="157">
                  <c:v>8</c:v>
                </c:pt>
                <c:pt idx="158">
                  <c:v>8</c:v>
                </c:pt>
                <c:pt idx="159">
                  <c:v>8</c:v>
                </c:pt>
                <c:pt idx="160">
                  <c:v>9</c:v>
                </c:pt>
                <c:pt idx="161">
                  <c:v>9</c:v>
                </c:pt>
                <c:pt idx="162">
                  <c:v>9</c:v>
                </c:pt>
                <c:pt idx="163">
                  <c:v>9</c:v>
                </c:pt>
                <c:pt idx="164">
                  <c:v>9</c:v>
                </c:pt>
                <c:pt idx="165">
                  <c:v>9</c:v>
                </c:pt>
                <c:pt idx="166">
                  <c:v>9</c:v>
                </c:pt>
                <c:pt idx="167">
                  <c:v>9</c:v>
                </c:pt>
                <c:pt idx="168">
                  <c:v>9</c:v>
                </c:pt>
                <c:pt idx="169">
                  <c:v>9</c:v>
                </c:pt>
                <c:pt idx="170">
                  <c:v>9</c:v>
                </c:pt>
                <c:pt idx="171">
                  <c:v>9</c:v>
                </c:pt>
                <c:pt idx="172">
                  <c:v>9</c:v>
                </c:pt>
                <c:pt idx="173">
                  <c:v>9</c:v>
                </c:pt>
                <c:pt idx="174">
                  <c:v>9</c:v>
                </c:pt>
                <c:pt idx="175">
                  <c:v>9</c:v>
                </c:pt>
                <c:pt idx="176">
                  <c:v>9</c:v>
                </c:pt>
                <c:pt idx="177">
                  <c:v>9</c:v>
                </c:pt>
                <c:pt idx="178">
                  <c:v>9</c:v>
                </c:pt>
                <c:pt idx="179">
                  <c:v>9</c:v>
                </c:pt>
                <c:pt idx="180">
                  <c:v>10</c:v>
                </c:pt>
                <c:pt idx="181">
                  <c:v>10</c:v>
                </c:pt>
                <c:pt idx="182">
                  <c:v>10</c:v>
                </c:pt>
                <c:pt idx="183">
                  <c:v>10</c:v>
                </c:pt>
                <c:pt idx="184">
                  <c:v>10</c:v>
                </c:pt>
                <c:pt idx="185">
                  <c:v>10</c:v>
                </c:pt>
                <c:pt idx="186">
                  <c:v>10</c:v>
                </c:pt>
                <c:pt idx="187">
                  <c:v>10</c:v>
                </c:pt>
                <c:pt idx="188">
                  <c:v>10</c:v>
                </c:pt>
                <c:pt idx="189">
                  <c:v>10</c:v>
                </c:pt>
                <c:pt idx="190">
                  <c:v>10</c:v>
                </c:pt>
                <c:pt idx="191">
                  <c:v>10</c:v>
                </c:pt>
                <c:pt idx="192">
                  <c:v>10</c:v>
                </c:pt>
                <c:pt idx="193">
                  <c:v>10</c:v>
                </c:pt>
                <c:pt idx="194">
                  <c:v>10</c:v>
                </c:pt>
                <c:pt idx="195">
                  <c:v>10</c:v>
                </c:pt>
                <c:pt idx="196">
                  <c:v>10</c:v>
                </c:pt>
                <c:pt idx="197">
                  <c:v>10</c:v>
                </c:pt>
                <c:pt idx="198">
                  <c:v>10</c:v>
                </c:pt>
                <c:pt idx="199">
                  <c:v>10</c:v>
                </c:pt>
                <c:pt idx="200">
                  <c:v>11</c:v>
                </c:pt>
                <c:pt idx="201">
                  <c:v>11</c:v>
                </c:pt>
                <c:pt idx="202">
                  <c:v>11</c:v>
                </c:pt>
                <c:pt idx="203">
                  <c:v>11</c:v>
                </c:pt>
                <c:pt idx="204">
                  <c:v>11</c:v>
                </c:pt>
                <c:pt idx="205">
                  <c:v>11</c:v>
                </c:pt>
                <c:pt idx="206">
                  <c:v>11</c:v>
                </c:pt>
                <c:pt idx="207">
                  <c:v>11</c:v>
                </c:pt>
                <c:pt idx="208">
                  <c:v>11</c:v>
                </c:pt>
                <c:pt idx="209">
                  <c:v>11</c:v>
                </c:pt>
                <c:pt idx="210">
                  <c:v>11</c:v>
                </c:pt>
                <c:pt idx="211">
                  <c:v>11</c:v>
                </c:pt>
                <c:pt idx="212">
                  <c:v>11</c:v>
                </c:pt>
                <c:pt idx="213">
                  <c:v>11</c:v>
                </c:pt>
                <c:pt idx="214">
                  <c:v>11</c:v>
                </c:pt>
                <c:pt idx="215">
                  <c:v>11</c:v>
                </c:pt>
                <c:pt idx="216">
                  <c:v>11</c:v>
                </c:pt>
                <c:pt idx="217">
                  <c:v>11</c:v>
                </c:pt>
                <c:pt idx="218">
                  <c:v>11</c:v>
                </c:pt>
                <c:pt idx="219">
                  <c:v>11</c:v>
                </c:pt>
                <c:pt idx="220">
                  <c:v>12</c:v>
                </c:pt>
                <c:pt idx="221">
                  <c:v>12</c:v>
                </c:pt>
                <c:pt idx="222">
                  <c:v>12</c:v>
                </c:pt>
                <c:pt idx="223">
                  <c:v>12</c:v>
                </c:pt>
                <c:pt idx="224">
                  <c:v>12</c:v>
                </c:pt>
                <c:pt idx="225">
                  <c:v>12</c:v>
                </c:pt>
                <c:pt idx="226">
                  <c:v>12</c:v>
                </c:pt>
                <c:pt idx="227">
                  <c:v>12</c:v>
                </c:pt>
                <c:pt idx="228">
                  <c:v>12</c:v>
                </c:pt>
                <c:pt idx="229">
                  <c:v>12</c:v>
                </c:pt>
                <c:pt idx="230">
                  <c:v>12</c:v>
                </c:pt>
                <c:pt idx="231">
                  <c:v>12</c:v>
                </c:pt>
                <c:pt idx="232">
                  <c:v>12</c:v>
                </c:pt>
                <c:pt idx="233">
                  <c:v>12</c:v>
                </c:pt>
                <c:pt idx="234">
                  <c:v>12</c:v>
                </c:pt>
                <c:pt idx="235">
                  <c:v>12</c:v>
                </c:pt>
                <c:pt idx="236">
                  <c:v>12</c:v>
                </c:pt>
                <c:pt idx="237">
                  <c:v>12</c:v>
                </c:pt>
                <c:pt idx="238">
                  <c:v>12</c:v>
                </c:pt>
                <c:pt idx="239">
                  <c:v>12</c:v>
                </c:pt>
              </c:numCache>
            </c:numRef>
          </c:xVal>
          <c:yVal>
            <c:numRef>
              <c:f>'D0 - Promotions'!$CM$6:$CM$245</c:f>
              <c:numCache>
                <c:formatCode>General</c:formatCode>
                <c:ptCount val="240"/>
                <c:pt idx="0" formatCode="&quot;€&quot;#,##0.00_);[Red]\(&quot;€&quot;#,##0.00\)">
                  <c:v>25.65</c:v>
                </c:pt>
                <c:pt idx="1">
                  <c:v>26.3</c:v>
                </c:pt>
                <c:pt idx="2">
                  <c:v>26.95</c:v>
                </c:pt>
                <c:pt idx="3">
                  <c:v>27.6</c:v>
                </c:pt>
                <c:pt idx="4">
                  <c:v>28.25</c:v>
                </c:pt>
                <c:pt idx="5">
                  <c:v>28.9</c:v>
                </c:pt>
                <c:pt idx="6">
                  <c:v>29.55</c:v>
                </c:pt>
                <c:pt idx="7">
                  <c:v>30.2</c:v>
                </c:pt>
                <c:pt idx="8">
                  <c:v>30.85</c:v>
                </c:pt>
                <c:pt idx="9">
                  <c:v>31.5</c:v>
                </c:pt>
                <c:pt idx="10">
                  <c:v>32.15</c:v>
                </c:pt>
                <c:pt idx="11">
                  <c:v>32.799999999999997</c:v>
                </c:pt>
                <c:pt idx="12">
                  <c:v>33.450000000000003</c:v>
                </c:pt>
                <c:pt idx="13">
                  <c:v>34.1</c:v>
                </c:pt>
                <c:pt idx="14">
                  <c:v>34.75</c:v>
                </c:pt>
                <c:pt idx="15">
                  <c:v>35.4</c:v>
                </c:pt>
                <c:pt idx="16">
                  <c:v>36.049999999999997</c:v>
                </c:pt>
                <c:pt idx="17">
                  <c:v>36.700000000000003</c:v>
                </c:pt>
                <c:pt idx="18">
                  <c:v>37.35</c:v>
                </c:pt>
                <c:pt idx="19">
                  <c:v>38</c:v>
                </c:pt>
                <c:pt idx="20">
                  <c:v>25.65</c:v>
                </c:pt>
                <c:pt idx="21">
                  <c:v>26.3</c:v>
                </c:pt>
                <c:pt idx="22">
                  <c:v>26.950000000000003</c:v>
                </c:pt>
                <c:pt idx="23">
                  <c:v>27.599999999999998</c:v>
                </c:pt>
                <c:pt idx="24">
                  <c:v>28.25</c:v>
                </c:pt>
                <c:pt idx="25">
                  <c:v>28.9</c:v>
                </c:pt>
                <c:pt idx="26">
                  <c:v>29.55</c:v>
                </c:pt>
                <c:pt idx="27">
                  <c:v>30.200000000000003</c:v>
                </c:pt>
                <c:pt idx="28">
                  <c:v>30.849999999999998</c:v>
                </c:pt>
                <c:pt idx="29">
                  <c:v>31.5</c:v>
                </c:pt>
                <c:pt idx="30">
                  <c:v>32.15</c:v>
                </c:pt>
                <c:pt idx="31">
                  <c:v>32.799999999999997</c:v>
                </c:pt>
                <c:pt idx="32">
                  <c:v>33.450000000000003</c:v>
                </c:pt>
                <c:pt idx="33">
                  <c:v>34.099999999999994</c:v>
                </c:pt>
                <c:pt idx="34">
                  <c:v>34.75</c:v>
                </c:pt>
                <c:pt idx="35">
                  <c:v>35.4</c:v>
                </c:pt>
                <c:pt idx="36">
                  <c:v>36.049999999999997</c:v>
                </c:pt>
                <c:pt idx="37">
                  <c:v>36.700000000000003</c:v>
                </c:pt>
                <c:pt idx="38">
                  <c:v>37.35</c:v>
                </c:pt>
                <c:pt idx="39">
                  <c:v>38</c:v>
                </c:pt>
                <c:pt idx="40">
                  <c:v>25.65</c:v>
                </c:pt>
                <c:pt idx="41">
                  <c:v>26.299999999999997</c:v>
                </c:pt>
                <c:pt idx="42">
                  <c:v>26.950000000000003</c:v>
                </c:pt>
                <c:pt idx="43">
                  <c:v>27.599999999999998</c:v>
                </c:pt>
                <c:pt idx="44">
                  <c:v>28.250000000000004</c:v>
                </c:pt>
                <c:pt idx="45">
                  <c:v>28.9</c:v>
                </c:pt>
                <c:pt idx="46">
                  <c:v>29.549999999999997</c:v>
                </c:pt>
                <c:pt idx="47">
                  <c:v>30.200000000000003</c:v>
                </c:pt>
                <c:pt idx="48">
                  <c:v>30.849999999999998</c:v>
                </c:pt>
                <c:pt idx="49">
                  <c:v>31.500000000000004</c:v>
                </c:pt>
                <c:pt idx="50">
                  <c:v>32.15</c:v>
                </c:pt>
                <c:pt idx="51">
                  <c:v>32.799999999999997</c:v>
                </c:pt>
                <c:pt idx="52">
                  <c:v>33.450000000000003</c:v>
                </c:pt>
                <c:pt idx="53">
                  <c:v>34.099999999999994</c:v>
                </c:pt>
                <c:pt idx="54">
                  <c:v>34.75</c:v>
                </c:pt>
                <c:pt idx="55">
                  <c:v>35.4</c:v>
                </c:pt>
                <c:pt idx="56">
                  <c:v>36.049999999999997</c:v>
                </c:pt>
                <c:pt idx="57">
                  <c:v>36.700000000000003</c:v>
                </c:pt>
                <c:pt idx="58">
                  <c:v>37.35</c:v>
                </c:pt>
                <c:pt idx="59">
                  <c:v>38</c:v>
                </c:pt>
                <c:pt idx="60">
                  <c:v>25.65</c:v>
                </c:pt>
                <c:pt idx="61">
                  <c:v>26.299999999999997</c:v>
                </c:pt>
                <c:pt idx="62">
                  <c:v>26.950000000000003</c:v>
                </c:pt>
                <c:pt idx="63">
                  <c:v>27.599999999999998</c:v>
                </c:pt>
                <c:pt idx="64">
                  <c:v>28.250000000000004</c:v>
                </c:pt>
                <c:pt idx="65">
                  <c:v>28.9</c:v>
                </c:pt>
                <c:pt idx="66">
                  <c:v>29.549999999999997</c:v>
                </c:pt>
                <c:pt idx="67">
                  <c:v>30.200000000000003</c:v>
                </c:pt>
                <c:pt idx="68">
                  <c:v>30.849999999999998</c:v>
                </c:pt>
                <c:pt idx="69">
                  <c:v>31.500000000000004</c:v>
                </c:pt>
                <c:pt idx="70">
                  <c:v>32.15</c:v>
                </c:pt>
                <c:pt idx="71">
                  <c:v>32.799999999999997</c:v>
                </c:pt>
                <c:pt idx="72">
                  <c:v>33.450000000000003</c:v>
                </c:pt>
                <c:pt idx="73">
                  <c:v>34.099999999999994</c:v>
                </c:pt>
                <c:pt idx="74">
                  <c:v>34.75</c:v>
                </c:pt>
                <c:pt idx="75">
                  <c:v>35.4</c:v>
                </c:pt>
                <c:pt idx="76">
                  <c:v>36.049999999999997</c:v>
                </c:pt>
                <c:pt idx="77">
                  <c:v>36.700000000000003</c:v>
                </c:pt>
                <c:pt idx="78">
                  <c:v>37.35</c:v>
                </c:pt>
                <c:pt idx="79">
                  <c:v>38</c:v>
                </c:pt>
                <c:pt idx="80">
                  <c:v>25.65</c:v>
                </c:pt>
                <c:pt idx="81">
                  <c:v>26.299999999999997</c:v>
                </c:pt>
                <c:pt idx="82">
                  <c:v>26.949999999999996</c:v>
                </c:pt>
                <c:pt idx="83">
                  <c:v>27.600000000000005</c:v>
                </c:pt>
                <c:pt idx="84">
                  <c:v>28.250000000000004</c:v>
                </c:pt>
                <c:pt idx="85">
                  <c:v>28.9</c:v>
                </c:pt>
                <c:pt idx="86">
                  <c:v>29.549999999999997</c:v>
                </c:pt>
                <c:pt idx="87">
                  <c:v>30.199999999999996</c:v>
                </c:pt>
                <c:pt idx="88">
                  <c:v>30.850000000000005</c:v>
                </c:pt>
                <c:pt idx="89">
                  <c:v>31.500000000000004</c:v>
                </c:pt>
                <c:pt idx="90">
                  <c:v>32.15</c:v>
                </c:pt>
                <c:pt idx="91">
                  <c:v>32.799999999999997</c:v>
                </c:pt>
                <c:pt idx="92">
                  <c:v>33.449999999999996</c:v>
                </c:pt>
                <c:pt idx="93">
                  <c:v>34.100000000000009</c:v>
                </c:pt>
                <c:pt idx="94">
                  <c:v>34.75</c:v>
                </c:pt>
                <c:pt idx="95">
                  <c:v>35.4</c:v>
                </c:pt>
                <c:pt idx="96">
                  <c:v>36.049999999999997</c:v>
                </c:pt>
                <c:pt idx="97">
                  <c:v>36.699999999999996</c:v>
                </c:pt>
                <c:pt idx="98">
                  <c:v>37.350000000000009</c:v>
                </c:pt>
                <c:pt idx="99">
                  <c:v>38</c:v>
                </c:pt>
                <c:pt idx="100">
                  <c:v>25.65</c:v>
                </c:pt>
                <c:pt idx="101">
                  <c:v>26.299999999999997</c:v>
                </c:pt>
                <c:pt idx="102">
                  <c:v>26.949999999999996</c:v>
                </c:pt>
                <c:pt idx="103">
                  <c:v>27.600000000000005</c:v>
                </c:pt>
                <c:pt idx="104">
                  <c:v>28.250000000000004</c:v>
                </c:pt>
                <c:pt idx="105">
                  <c:v>28.9</c:v>
                </c:pt>
                <c:pt idx="106">
                  <c:v>29.549999999999997</c:v>
                </c:pt>
                <c:pt idx="107">
                  <c:v>30.199999999999996</c:v>
                </c:pt>
                <c:pt idx="108">
                  <c:v>30.850000000000005</c:v>
                </c:pt>
                <c:pt idx="109">
                  <c:v>31.500000000000004</c:v>
                </c:pt>
                <c:pt idx="110">
                  <c:v>32.15</c:v>
                </c:pt>
                <c:pt idx="111">
                  <c:v>32.799999999999997</c:v>
                </c:pt>
                <c:pt idx="112">
                  <c:v>33.449999999999996</c:v>
                </c:pt>
                <c:pt idx="113">
                  <c:v>34.100000000000009</c:v>
                </c:pt>
                <c:pt idx="114">
                  <c:v>34.75</c:v>
                </c:pt>
                <c:pt idx="115">
                  <c:v>35.4</c:v>
                </c:pt>
                <c:pt idx="116">
                  <c:v>36.049999999999997</c:v>
                </c:pt>
                <c:pt idx="117">
                  <c:v>36.699999999999996</c:v>
                </c:pt>
                <c:pt idx="118">
                  <c:v>37.350000000000009</c:v>
                </c:pt>
                <c:pt idx="119">
                  <c:v>38</c:v>
                </c:pt>
                <c:pt idx="120">
                  <c:v>25.65</c:v>
                </c:pt>
                <c:pt idx="121">
                  <c:v>26.299999999999997</c:v>
                </c:pt>
                <c:pt idx="122">
                  <c:v>26.949999999999996</c:v>
                </c:pt>
                <c:pt idx="123">
                  <c:v>27.600000000000005</c:v>
                </c:pt>
                <c:pt idx="124">
                  <c:v>28.250000000000004</c:v>
                </c:pt>
                <c:pt idx="125">
                  <c:v>28.9</c:v>
                </c:pt>
                <c:pt idx="126">
                  <c:v>29.549999999999997</c:v>
                </c:pt>
                <c:pt idx="127">
                  <c:v>30.199999999999996</c:v>
                </c:pt>
                <c:pt idx="128">
                  <c:v>30.850000000000005</c:v>
                </c:pt>
                <c:pt idx="129">
                  <c:v>31.500000000000004</c:v>
                </c:pt>
                <c:pt idx="130">
                  <c:v>32.15</c:v>
                </c:pt>
                <c:pt idx="131">
                  <c:v>32.799999999999997</c:v>
                </c:pt>
                <c:pt idx="132">
                  <c:v>33.449999999999996</c:v>
                </c:pt>
                <c:pt idx="133">
                  <c:v>34.100000000000009</c:v>
                </c:pt>
                <c:pt idx="134">
                  <c:v>34.75</c:v>
                </c:pt>
                <c:pt idx="135">
                  <c:v>35.4</c:v>
                </c:pt>
                <c:pt idx="136">
                  <c:v>36.049999999999997</c:v>
                </c:pt>
                <c:pt idx="137">
                  <c:v>36.699999999999996</c:v>
                </c:pt>
                <c:pt idx="138">
                  <c:v>37.350000000000009</c:v>
                </c:pt>
                <c:pt idx="139">
                  <c:v>38</c:v>
                </c:pt>
                <c:pt idx="140">
                  <c:v>25.65</c:v>
                </c:pt>
                <c:pt idx="141">
                  <c:v>26.299999999999997</c:v>
                </c:pt>
                <c:pt idx="142">
                  <c:v>26.949999999999996</c:v>
                </c:pt>
                <c:pt idx="143">
                  <c:v>27.600000000000005</c:v>
                </c:pt>
                <c:pt idx="144">
                  <c:v>28.250000000000004</c:v>
                </c:pt>
                <c:pt idx="145">
                  <c:v>28.9</c:v>
                </c:pt>
                <c:pt idx="146">
                  <c:v>29.549999999999997</c:v>
                </c:pt>
                <c:pt idx="147">
                  <c:v>30.199999999999996</c:v>
                </c:pt>
                <c:pt idx="148">
                  <c:v>30.850000000000005</c:v>
                </c:pt>
                <c:pt idx="149">
                  <c:v>31.500000000000004</c:v>
                </c:pt>
                <c:pt idx="150">
                  <c:v>32.15</c:v>
                </c:pt>
                <c:pt idx="151">
                  <c:v>32.799999999999997</c:v>
                </c:pt>
                <c:pt idx="152">
                  <c:v>33.449999999999996</c:v>
                </c:pt>
                <c:pt idx="153">
                  <c:v>34.100000000000009</c:v>
                </c:pt>
                <c:pt idx="154">
                  <c:v>34.75</c:v>
                </c:pt>
                <c:pt idx="155">
                  <c:v>35.4</c:v>
                </c:pt>
                <c:pt idx="156">
                  <c:v>36.049999999999997</c:v>
                </c:pt>
                <c:pt idx="157">
                  <c:v>36.699999999999996</c:v>
                </c:pt>
                <c:pt idx="158">
                  <c:v>37.350000000000009</c:v>
                </c:pt>
                <c:pt idx="159">
                  <c:v>38</c:v>
                </c:pt>
                <c:pt idx="160">
                  <c:v>25.65</c:v>
                </c:pt>
                <c:pt idx="161">
                  <c:v>26.300000000000008</c:v>
                </c:pt>
                <c:pt idx="162">
                  <c:v>26.949999999999996</c:v>
                </c:pt>
                <c:pt idx="163">
                  <c:v>27.600000000000005</c:v>
                </c:pt>
                <c:pt idx="164">
                  <c:v>28.249999999999989</c:v>
                </c:pt>
                <c:pt idx="165">
                  <c:v>28.9</c:v>
                </c:pt>
                <c:pt idx="166">
                  <c:v>29.550000000000011</c:v>
                </c:pt>
                <c:pt idx="167">
                  <c:v>30.199999999999996</c:v>
                </c:pt>
                <c:pt idx="168">
                  <c:v>30.850000000000005</c:v>
                </c:pt>
                <c:pt idx="169">
                  <c:v>31.499999999999993</c:v>
                </c:pt>
                <c:pt idx="170">
                  <c:v>32.15</c:v>
                </c:pt>
                <c:pt idx="171">
                  <c:v>32.800000000000011</c:v>
                </c:pt>
                <c:pt idx="172">
                  <c:v>33.449999999999996</c:v>
                </c:pt>
                <c:pt idx="173">
                  <c:v>34.100000000000009</c:v>
                </c:pt>
                <c:pt idx="174">
                  <c:v>34.749999999999993</c:v>
                </c:pt>
                <c:pt idx="175">
                  <c:v>35.4</c:v>
                </c:pt>
                <c:pt idx="176">
                  <c:v>36.050000000000011</c:v>
                </c:pt>
                <c:pt idx="177">
                  <c:v>36.699999999999996</c:v>
                </c:pt>
                <c:pt idx="178">
                  <c:v>37.350000000000009</c:v>
                </c:pt>
                <c:pt idx="179">
                  <c:v>37.999999999999993</c:v>
                </c:pt>
                <c:pt idx="180">
                  <c:v>25.65</c:v>
                </c:pt>
                <c:pt idx="181">
                  <c:v>26.300000000000008</c:v>
                </c:pt>
                <c:pt idx="182">
                  <c:v>26.949999999999996</c:v>
                </c:pt>
                <c:pt idx="183">
                  <c:v>27.600000000000005</c:v>
                </c:pt>
                <c:pt idx="184">
                  <c:v>28.249999999999989</c:v>
                </c:pt>
                <c:pt idx="185">
                  <c:v>28.9</c:v>
                </c:pt>
                <c:pt idx="186">
                  <c:v>29.550000000000011</c:v>
                </c:pt>
                <c:pt idx="187">
                  <c:v>30.199999999999996</c:v>
                </c:pt>
                <c:pt idx="188">
                  <c:v>30.850000000000005</c:v>
                </c:pt>
                <c:pt idx="189">
                  <c:v>31.499999999999993</c:v>
                </c:pt>
                <c:pt idx="190">
                  <c:v>32.15</c:v>
                </c:pt>
                <c:pt idx="191">
                  <c:v>32.800000000000011</c:v>
                </c:pt>
                <c:pt idx="192">
                  <c:v>33.449999999999996</c:v>
                </c:pt>
                <c:pt idx="193">
                  <c:v>34.100000000000009</c:v>
                </c:pt>
                <c:pt idx="194">
                  <c:v>34.749999999999993</c:v>
                </c:pt>
                <c:pt idx="195">
                  <c:v>35.4</c:v>
                </c:pt>
                <c:pt idx="196">
                  <c:v>36.050000000000011</c:v>
                </c:pt>
                <c:pt idx="197">
                  <c:v>36.699999999999996</c:v>
                </c:pt>
                <c:pt idx="198">
                  <c:v>37.350000000000009</c:v>
                </c:pt>
                <c:pt idx="199">
                  <c:v>37.999999999999993</c:v>
                </c:pt>
                <c:pt idx="200">
                  <c:v>25.65</c:v>
                </c:pt>
                <c:pt idx="201">
                  <c:v>26.300000000000008</c:v>
                </c:pt>
                <c:pt idx="202">
                  <c:v>26.949999999999996</c:v>
                </c:pt>
                <c:pt idx="203">
                  <c:v>27.600000000000005</c:v>
                </c:pt>
                <c:pt idx="204">
                  <c:v>28.249999999999989</c:v>
                </c:pt>
                <c:pt idx="205">
                  <c:v>28.9</c:v>
                </c:pt>
                <c:pt idx="206">
                  <c:v>29.550000000000011</c:v>
                </c:pt>
                <c:pt idx="207">
                  <c:v>30.199999999999996</c:v>
                </c:pt>
                <c:pt idx="208">
                  <c:v>30.850000000000005</c:v>
                </c:pt>
                <c:pt idx="209">
                  <c:v>31.499999999999993</c:v>
                </c:pt>
                <c:pt idx="210">
                  <c:v>32.15</c:v>
                </c:pt>
                <c:pt idx="211">
                  <c:v>32.800000000000011</c:v>
                </c:pt>
                <c:pt idx="212">
                  <c:v>33.449999999999996</c:v>
                </c:pt>
                <c:pt idx="213">
                  <c:v>34.100000000000009</c:v>
                </c:pt>
                <c:pt idx="214">
                  <c:v>34.749999999999993</c:v>
                </c:pt>
                <c:pt idx="215">
                  <c:v>35.4</c:v>
                </c:pt>
                <c:pt idx="216">
                  <c:v>36.050000000000011</c:v>
                </c:pt>
                <c:pt idx="217">
                  <c:v>36.699999999999996</c:v>
                </c:pt>
                <c:pt idx="218">
                  <c:v>37.350000000000009</c:v>
                </c:pt>
                <c:pt idx="219">
                  <c:v>37.999999999999993</c:v>
                </c:pt>
                <c:pt idx="220">
                  <c:v>25.65</c:v>
                </c:pt>
                <c:pt idx="221">
                  <c:v>26.300000000000008</c:v>
                </c:pt>
                <c:pt idx="222">
                  <c:v>26.949999999999996</c:v>
                </c:pt>
                <c:pt idx="223">
                  <c:v>27.600000000000005</c:v>
                </c:pt>
                <c:pt idx="224">
                  <c:v>28.249999999999989</c:v>
                </c:pt>
                <c:pt idx="225">
                  <c:v>28.9</c:v>
                </c:pt>
                <c:pt idx="226">
                  <c:v>29.550000000000011</c:v>
                </c:pt>
                <c:pt idx="227">
                  <c:v>30.199999999999996</c:v>
                </c:pt>
                <c:pt idx="228">
                  <c:v>30.850000000000005</c:v>
                </c:pt>
                <c:pt idx="229">
                  <c:v>31.499999999999993</c:v>
                </c:pt>
                <c:pt idx="230">
                  <c:v>32.15</c:v>
                </c:pt>
                <c:pt idx="231">
                  <c:v>32.800000000000011</c:v>
                </c:pt>
                <c:pt idx="232">
                  <c:v>33.449999999999996</c:v>
                </c:pt>
                <c:pt idx="233">
                  <c:v>34.100000000000009</c:v>
                </c:pt>
                <c:pt idx="234">
                  <c:v>34.749999999999993</c:v>
                </c:pt>
                <c:pt idx="235">
                  <c:v>35.4</c:v>
                </c:pt>
                <c:pt idx="236">
                  <c:v>36.050000000000011</c:v>
                </c:pt>
                <c:pt idx="237">
                  <c:v>36.699999999999996</c:v>
                </c:pt>
                <c:pt idx="238">
                  <c:v>37.350000000000009</c:v>
                </c:pt>
                <c:pt idx="239">
                  <c:v>37.999999999999993</c:v>
                </c:pt>
              </c:numCache>
            </c:numRef>
          </c:yVal>
          <c:bubbleSize>
            <c:numRef>
              <c:f>'D0 - Promotions'!$CN$6:$CN$245</c:f>
              <c:numCache>
                <c:formatCode>0%</c:formatCode>
                <c:ptCount val="240"/>
                <c:pt idx="0">
                  <c:v>8.3333333333333332E-3</c:v>
                </c:pt>
                <c:pt idx="1">
                  <c:v>4.7619047619047623E-3</c:v>
                </c:pt>
                <c:pt idx="2">
                  <c:v>1.1904761904761906E-3</c:v>
                </c:pt>
                <c:pt idx="3">
                  <c:v>0.57499999999999996</c:v>
                </c:pt>
                <c:pt idx="4">
                  <c:v>0.17142857142857143</c:v>
                </c:pt>
                <c:pt idx="5">
                  <c:v>0.10238095238095238</c:v>
                </c:pt>
                <c:pt idx="6">
                  <c:v>0.05</c:v>
                </c:pt>
                <c:pt idx="7">
                  <c:v>2.976190476190476E-2</c:v>
                </c:pt>
                <c:pt idx="8">
                  <c:v>3.3333333333333333E-2</c:v>
                </c:pt>
                <c:pt idx="9">
                  <c:v>9.5238095238095247E-3</c:v>
                </c:pt>
                <c:pt idx="10">
                  <c:v>7.1428571428571426E-3</c:v>
                </c:pt>
                <c:pt idx="11">
                  <c:v>0</c:v>
                </c:pt>
                <c:pt idx="12">
                  <c:v>1.1904761904761906E-3</c:v>
                </c:pt>
                <c:pt idx="13">
                  <c:v>2.3809523809523812E-3</c:v>
                </c:pt>
                <c:pt idx="14">
                  <c:v>1.1904761904761906E-3</c:v>
                </c:pt>
                <c:pt idx="15">
                  <c:v>0</c:v>
                </c:pt>
                <c:pt idx="16">
                  <c:v>1.1904761904761906E-3</c:v>
                </c:pt>
                <c:pt idx="17">
                  <c:v>0</c:v>
                </c:pt>
                <c:pt idx="18">
                  <c:v>1.1904761904761906E-3</c:v>
                </c:pt>
                <c:pt idx="19">
                  <c:v>0</c:v>
                </c:pt>
                <c:pt idx="20">
                  <c:v>1.0638297872340425E-2</c:v>
                </c:pt>
                <c:pt idx="21">
                  <c:v>4.7281323877068557E-3</c:v>
                </c:pt>
                <c:pt idx="22">
                  <c:v>1.1820330969267139E-3</c:v>
                </c:pt>
                <c:pt idx="23">
                  <c:v>0.56619385342789597</c:v>
                </c:pt>
                <c:pt idx="24">
                  <c:v>0.17375886524822695</c:v>
                </c:pt>
                <c:pt idx="25">
                  <c:v>0.10047281323877069</c:v>
                </c:pt>
                <c:pt idx="26">
                  <c:v>5.0827423167848697E-2</c:v>
                </c:pt>
                <c:pt idx="27">
                  <c:v>3.0732860520094562E-2</c:v>
                </c:pt>
                <c:pt idx="28">
                  <c:v>3.5460992907801421E-2</c:v>
                </c:pt>
                <c:pt idx="29">
                  <c:v>9.4562647754137114E-3</c:v>
                </c:pt>
                <c:pt idx="30">
                  <c:v>8.2742316784869974E-3</c:v>
                </c:pt>
                <c:pt idx="31">
                  <c:v>0</c:v>
                </c:pt>
                <c:pt idx="32">
                  <c:v>1.1820330969267139E-3</c:v>
                </c:pt>
                <c:pt idx="33">
                  <c:v>2.3640661938534278E-3</c:v>
                </c:pt>
                <c:pt idx="34">
                  <c:v>1.1820330969267139E-3</c:v>
                </c:pt>
                <c:pt idx="35">
                  <c:v>0</c:v>
                </c:pt>
                <c:pt idx="36">
                  <c:v>1.1820330969267139E-3</c:v>
                </c:pt>
                <c:pt idx="37">
                  <c:v>0</c:v>
                </c:pt>
                <c:pt idx="38">
                  <c:v>1.1820330969267139E-3</c:v>
                </c:pt>
                <c:pt idx="39">
                  <c:v>0</c:v>
                </c:pt>
                <c:pt idx="40">
                  <c:v>7.0339976553341153E-3</c:v>
                </c:pt>
                <c:pt idx="41">
                  <c:v>4.6893317702227429E-3</c:v>
                </c:pt>
                <c:pt idx="42">
                  <c:v>1.1723329425556857E-3</c:v>
                </c:pt>
                <c:pt idx="43">
                  <c:v>0.65650644783118406</c:v>
                </c:pt>
                <c:pt idx="44">
                  <c:v>0.123094958968347</c:v>
                </c:pt>
                <c:pt idx="45">
                  <c:v>8.792497069167643E-2</c:v>
                </c:pt>
                <c:pt idx="46">
                  <c:v>3.8686987104337635E-2</c:v>
                </c:pt>
                <c:pt idx="47">
                  <c:v>3.048065650644783E-2</c:v>
                </c:pt>
                <c:pt idx="48">
                  <c:v>2.5791324736225089E-2</c:v>
                </c:pt>
                <c:pt idx="49">
                  <c:v>1.0550996483001172E-2</c:v>
                </c:pt>
                <c:pt idx="50">
                  <c:v>8.2063305978898014E-3</c:v>
                </c:pt>
                <c:pt idx="51">
                  <c:v>0</c:v>
                </c:pt>
                <c:pt idx="52">
                  <c:v>1.1723329425556857E-3</c:v>
                </c:pt>
                <c:pt idx="53">
                  <c:v>2.3446658851113715E-3</c:v>
                </c:pt>
                <c:pt idx="54">
                  <c:v>1.1723329425556857E-3</c:v>
                </c:pt>
                <c:pt idx="55">
                  <c:v>0</c:v>
                </c:pt>
                <c:pt idx="56">
                  <c:v>1.1723329425556857E-3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7.1343638525564806E-3</c:v>
                </c:pt>
                <c:pt idx="61">
                  <c:v>3.5671819262782403E-3</c:v>
                </c:pt>
                <c:pt idx="62">
                  <c:v>1.1890606420927466E-3</c:v>
                </c:pt>
                <c:pt idx="63">
                  <c:v>0.6504161712247325</c:v>
                </c:pt>
                <c:pt idx="64">
                  <c:v>0.12604042806183116</c:v>
                </c:pt>
                <c:pt idx="65">
                  <c:v>8.0856123662306781E-2</c:v>
                </c:pt>
                <c:pt idx="66">
                  <c:v>4.2806183115338882E-2</c:v>
                </c:pt>
                <c:pt idx="67">
                  <c:v>3.2104637336504163E-2</c:v>
                </c:pt>
                <c:pt idx="68">
                  <c:v>2.9726516052318668E-2</c:v>
                </c:pt>
                <c:pt idx="69">
                  <c:v>1.1890606420927468E-2</c:v>
                </c:pt>
                <c:pt idx="70">
                  <c:v>7.1343638525564806E-3</c:v>
                </c:pt>
                <c:pt idx="71">
                  <c:v>1.1890606420927466E-3</c:v>
                </c:pt>
                <c:pt idx="72">
                  <c:v>1.1890606420927466E-3</c:v>
                </c:pt>
                <c:pt idx="73">
                  <c:v>2.3781212841854932E-3</c:v>
                </c:pt>
                <c:pt idx="74">
                  <c:v>1.1890606420927466E-3</c:v>
                </c:pt>
                <c:pt idx="75">
                  <c:v>0</c:v>
                </c:pt>
                <c:pt idx="76">
                  <c:v>1.1890606420927466E-3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9.4562647754137114E-3</c:v>
                </c:pt>
                <c:pt idx="81">
                  <c:v>5.9101654846335696E-3</c:v>
                </c:pt>
                <c:pt idx="82">
                  <c:v>2.3640661938534278E-3</c:v>
                </c:pt>
                <c:pt idx="83">
                  <c:v>0.55673758865248224</c:v>
                </c:pt>
                <c:pt idx="84">
                  <c:v>0.16666666666666666</c:v>
                </c:pt>
                <c:pt idx="85">
                  <c:v>0.10047281323877069</c:v>
                </c:pt>
                <c:pt idx="86">
                  <c:v>5.4373522458628844E-2</c:v>
                </c:pt>
                <c:pt idx="87">
                  <c:v>3.7825059101654845E-2</c:v>
                </c:pt>
                <c:pt idx="88">
                  <c:v>3.664302600472813E-2</c:v>
                </c:pt>
                <c:pt idx="89">
                  <c:v>1.3002364066193853E-2</c:v>
                </c:pt>
                <c:pt idx="90">
                  <c:v>8.2742316784869974E-3</c:v>
                </c:pt>
                <c:pt idx="91">
                  <c:v>1.1820330969267139E-3</c:v>
                </c:pt>
                <c:pt idx="92">
                  <c:v>1.1820330969267139E-3</c:v>
                </c:pt>
                <c:pt idx="93">
                  <c:v>2.3640661938534278E-3</c:v>
                </c:pt>
                <c:pt idx="94">
                  <c:v>1.1820330969267139E-3</c:v>
                </c:pt>
                <c:pt idx="95">
                  <c:v>0</c:v>
                </c:pt>
                <c:pt idx="96">
                  <c:v>1.1820330969267139E-3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6.2893081761006293E-3</c:v>
                </c:pt>
                <c:pt idx="101">
                  <c:v>5.2410901467505244E-3</c:v>
                </c:pt>
                <c:pt idx="102">
                  <c:v>2.0964360587002098E-3</c:v>
                </c:pt>
                <c:pt idx="103">
                  <c:v>0.5765199161425576</c:v>
                </c:pt>
                <c:pt idx="104">
                  <c:v>0.16876310272536688</c:v>
                </c:pt>
                <c:pt idx="105">
                  <c:v>9.9580712788259959E-2</c:v>
                </c:pt>
                <c:pt idx="106">
                  <c:v>5.0314465408805034E-2</c:v>
                </c:pt>
                <c:pt idx="107">
                  <c:v>3.1446540880503145E-2</c:v>
                </c:pt>
                <c:pt idx="108">
                  <c:v>3.2494758909853247E-2</c:v>
                </c:pt>
                <c:pt idx="109">
                  <c:v>1.0482180293501049E-2</c:v>
                </c:pt>
                <c:pt idx="110">
                  <c:v>9.433962264150943E-3</c:v>
                </c:pt>
                <c:pt idx="111">
                  <c:v>1.0482180293501049E-3</c:v>
                </c:pt>
                <c:pt idx="112">
                  <c:v>1.0482180293501049E-3</c:v>
                </c:pt>
                <c:pt idx="113">
                  <c:v>2.0964360587002098E-3</c:v>
                </c:pt>
                <c:pt idx="114">
                  <c:v>1.0482180293501049E-3</c:v>
                </c:pt>
                <c:pt idx="115">
                  <c:v>0</c:v>
                </c:pt>
                <c:pt idx="116">
                  <c:v>1.0482180293501049E-3</c:v>
                </c:pt>
                <c:pt idx="117">
                  <c:v>0</c:v>
                </c:pt>
                <c:pt idx="118">
                  <c:v>0</c:v>
                </c:pt>
                <c:pt idx="119">
                  <c:v>0</c:v>
                </c:pt>
                <c:pt idx="120">
                  <c:v>1.0121457489878543E-2</c:v>
                </c:pt>
                <c:pt idx="121">
                  <c:v>7.0850202429149798E-3</c:v>
                </c:pt>
                <c:pt idx="122">
                  <c:v>2.0242914979757085E-3</c:v>
                </c:pt>
                <c:pt idx="123">
                  <c:v>0.5748987854251012</c:v>
                </c:pt>
                <c:pt idx="124">
                  <c:v>0.16902834008097167</c:v>
                </c:pt>
                <c:pt idx="125">
                  <c:v>0.10526315789473684</c:v>
                </c:pt>
                <c:pt idx="126">
                  <c:v>4.5546558704453441E-2</c:v>
                </c:pt>
                <c:pt idx="127">
                  <c:v>2.7327935222672066E-2</c:v>
                </c:pt>
                <c:pt idx="128">
                  <c:v>3.137651821862348E-2</c:v>
                </c:pt>
                <c:pt idx="129">
                  <c:v>1.1133603238866396E-2</c:v>
                </c:pt>
                <c:pt idx="130">
                  <c:v>9.1093117408906875E-3</c:v>
                </c:pt>
                <c:pt idx="131">
                  <c:v>1.0121457489878543E-3</c:v>
                </c:pt>
                <c:pt idx="132">
                  <c:v>1.0121457489878543E-3</c:v>
                </c:pt>
                <c:pt idx="133">
                  <c:v>2.0242914979757085E-3</c:v>
                </c:pt>
                <c:pt idx="134">
                  <c:v>1.0121457489878543E-3</c:v>
                </c:pt>
                <c:pt idx="135">
                  <c:v>0</c:v>
                </c:pt>
                <c:pt idx="136">
                  <c:v>1.0121457489878543E-3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0">
                  <c:v>1.079913606911447E-2</c:v>
                </c:pt>
                <c:pt idx="141">
                  <c:v>5.3995680345572351E-3</c:v>
                </c:pt>
                <c:pt idx="142">
                  <c:v>1.0799136069114472E-3</c:v>
                </c:pt>
                <c:pt idx="143">
                  <c:v>0.74406047516198703</c:v>
                </c:pt>
                <c:pt idx="144">
                  <c:v>6.8034557235421164E-2</c:v>
                </c:pt>
                <c:pt idx="145">
                  <c:v>4.9676025917926567E-2</c:v>
                </c:pt>
                <c:pt idx="146">
                  <c:v>3.4557235421166309E-2</c:v>
                </c:pt>
                <c:pt idx="147">
                  <c:v>2.8077753779697623E-2</c:v>
                </c:pt>
                <c:pt idx="148">
                  <c:v>3.0237580993520519E-2</c:v>
                </c:pt>
                <c:pt idx="149">
                  <c:v>1.1879049676025918E-2</c:v>
                </c:pt>
                <c:pt idx="150">
                  <c:v>8.6393088552915772E-3</c:v>
                </c:pt>
                <c:pt idx="151">
                  <c:v>1.0799136069114472E-3</c:v>
                </c:pt>
                <c:pt idx="152">
                  <c:v>1.0799136069114472E-3</c:v>
                </c:pt>
                <c:pt idx="153">
                  <c:v>2.1598272138228943E-3</c:v>
                </c:pt>
                <c:pt idx="154">
                  <c:v>1.0799136069114472E-3</c:v>
                </c:pt>
                <c:pt idx="155">
                  <c:v>0</c:v>
                </c:pt>
                <c:pt idx="156">
                  <c:v>1.0799136069114472E-3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1.1574074074074073E-2</c:v>
                </c:pt>
                <c:pt idx="161">
                  <c:v>5.7870370370370367E-3</c:v>
                </c:pt>
                <c:pt idx="162">
                  <c:v>1.1574074074074073E-3</c:v>
                </c:pt>
                <c:pt idx="163">
                  <c:v>0.72453703703703709</c:v>
                </c:pt>
                <c:pt idx="164">
                  <c:v>7.1759259259259259E-2</c:v>
                </c:pt>
                <c:pt idx="165">
                  <c:v>5.3240740740740741E-2</c:v>
                </c:pt>
                <c:pt idx="166">
                  <c:v>3.8194444444444448E-2</c:v>
                </c:pt>
                <c:pt idx="167">
                  <c:v>3.2407407407407406E-2</c:v>
                </c:pt>
                <c:pt idx="168">
                  <c:v>3.2407407407407406E-2</c:v>
                </c:pt>
                <c:pt idx="169">
                  <c:v>1.1574074074074073E-2</c:v>
                </c:pt>
                <c:pt idx="170">
                  <c:v>9.2592592592592587E-3</c:v>
                </c:pt>
                <c:pt idx="171">
                  <c:v>1.1574074074074073E-3</c:v>
                </c:pt>
                <c:pt idx="172">
                  <c:v>1.1574074074074073E-3</c:v>
                </c:pt>
                <c:pt idx="173">
                  <c:v>2.3148148148148147E-3</c:v>
                </c:pt>
                <c:pt idx="174">
                  <c:v>1.1574074074074073E-3</c:v>
                </c:pt>
                <c:pt idx="175">
                  <c:v>0</c:v>
                </c:pt>
                <c:pt idx="176">
                  <c:v>1.1574074074074073E-3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1.0172939979654121E-2</c:v>
                </c:pt>
                <c:pt idx="181">
                  <c:v>5.0864699898270603E-3</c:v>
                </c:pt>
                <c:pt idx="182">
                  <c:v>1.017293997965412E-3</c:v>
                </c:pt>
                <c:pt idx="183">
                  <c:v>0.57884028484231942</c:v>
                </c:pt>
                <c:pt idx="184">
                  <c:v>0.17192268565615462</c:v>
                </c:pt>
                <c:pt idx="185">
                  <c:v>9.8677517802644971E-2</c:v>
                </c:pt>
                <c:pt idx="186">
                  <c:v>4.6795523906408953E-2</c:v>
                </c:pt>
                <c:pt idx="187">
                  <c:v>3.1536113936927769E-2</c:v>
                </c:pt>
                <c:pt idx="188">
                  <c:v>2.9501525940996948E-2</c:v>
                </c:pt>
                <c:pt idx="189">
                  <c:v>1.0172939979654121E-2</c:v>
                </c:pt>
                <c:pt idx="190">
                  <c:v>9.1556459816887082E-3</c:v>
                </c:pt>
                <c:pt idx="191">
                  <c:v>1.017293997965412E-3</c:v>
                </c:pt>
                <c:pt idx="192">
                  <c:v>1.017293997965412E-3</c:v>
                </c:pt>
                <c:pt idx="193">
                  <c:v>2.0345879959308239E-3</c:v>
                </c:pt>
                <c:pt idx="194">
                  <c:v>1.017293997965412E-3</c:v>
                </c:pt>
                <c:pt idx="195">
                  <c:v>0</c:v>
                </c:pt>
                <c:pt idx="196">
                  <c:v>1.017293997965412E-3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9.9601593625498006E-3</c:v>
                </c:pt>
                <c:pt idx="201">
                  <c:v>4.9800796812749003E-3</c:v>
                </c:pt>
                <c:pt idx="202">
                  <c:v>1.9920318725099601E-3</c:v>
                </c:pt>
                <c:pt idx="203">
                  <c:v>0.58067729083665343</c:v>
                </c:pt>
                <c:pt idx="204">
                  <c:v>0.1752988047808765</c:v>
                </c:pt>
                <c:pt idx="205">
                  <c:v>0.10159362549800798</c:v>
                </c:pt>
                <c:pt idx="206">
                  <c:v>4.4820717131474105E-2</c:v>
                </c:pt>
                <c:pt idx="207">
                  <c:v>2.7888446215139442E-2</c:v>
                </c:pt>
                <c:pt idx="208">
                  <c:v>2.9880478087649404E-2</c:v>
                </c:pt>
                <c:pt idx="209">
                  <c:v>7.9681274900398405E-3</c:v>
                </c:pt>
                <c:pt idx="210">
                  <c:v>7.9681274900398405E-3</c:v>
                </c:pt>
                <c:pt idx="211">
                  <c:v>9.9601593625498006E-4</c:v>
                </c:pt>
                <c:pt idx="212">
                  <c:v>9.9601593625498006E-4</c:v>
                </c:pt>
                <c:pt idx="213">
                  <c:v>1.9920318725099601E-3</c:v>
                </c:pt>
                <c:pt idx="214">
                  <c:v>9.9601593625498006E-4</c:v>
                </c:pt>
                <c:pt idx="215">
                  <c:v>0</c:v>
                </c:pt>
                <c:pt idx="216">
                  <c:v>9.9601593625498006E-4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1.1190233977619531E-2</c:v>
                </c:pt>
                <c:pt idx="221">
                  <c:v>5.0864699898270603E-3</c:v>
                </c:pt>
                <c:pt idx="222">
                  <c:v>2.0345879959308239E-3</c:v>
                </c:pt>
                <c:pt idx="223">
                  <c:v>0.57578840284842314</c:v>
                </c:pt>
                <c:pt idx="224">
                  <c:v>0.17395727365208546</c:v>
                </c:pt>
                <c:pt idx="225">
                  <c:v>0.10579857578840285</c:v>
                </c:pt>
                <c:pt idx="226">
                  <c:v>4.4760935910478125E-2</c:v>
                </c:pt>
                <c:pt idx="227">
                  <c:v>2.6449643947100712E-2</c:v>
                </c:pt>
                <c:pt idx="228">
                  <c:v>2.7466937945066123E-2</c:v>
                </c:pt>
                <c:pt idx="229">
                  <c:v>1.1190233977619531E-2</c:v>
                </c:pt>
                <c:pt idx="230">
                  <c:v>8.1383519837232958E-3</c:v>
                </c:pt>
                <c:pt idx="231">
                  <c:v>1.017293997965412E-3</c:v>
                </c:pt>
                <c:pt idx="232">
                  <c:v>1.017293997965412E-3</c:v>
                </c:pt>
                <c:pt idx="233">
                  <c:v>2.0345879959308239E-3</c:v>
                </c:pt>
                <c:pt idx="234">
                  <c:v>1.017293997965412E-3</c:v>
                </c:pt>
                <c:pt idx="235">
                  <c:v>0</c:v>
                </c:pt>
                <c:pt idx="236">
                  <c:v>1.017293997965412E-3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0-1086-4B4C-BFB8-425DBE1CBA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20"/>
        <c:showNegBubbles val="0"/>
        <c:axId val="1658987535"/>
        <c:axId val="1658988015"/>
      </c:bubbleChart>
      <c:valAx>
        <c:axId val="1658987535"/>
        <c:scaling>
          <c:orientation val="minMax"/>
          <c:max val="13"/>
          <c:min val="0"/>
        </c:scaling>
        <c:delete val="1"/>
        <c:axPos val="b"/>
        <c:numFmt formatCode="General" sourceLinked="1"/>
        <c:majorTickMark val="none"/>
        <c:minorTickMark val="none"/>
        <c:tickLblPos val="nextTo"/>
        <c:crossAx val="1658988015"/>
        <c:crosses val="autoZero"/>
        <c:crossBetween val="midCat"/>
      </c:valAx>
      <c:valAx>
        <c:axId val="16589880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FR" b="1"/>
                  <a:t>Prix /L avant impot</a:t>
                </a:r>
              </a:p>
            </c:rich>
          </c:tx>
          <c:layout>
            <c:manualLayout>
              <c:xMode val="edge"/>
              <c:yMode val="edge"/>
              <c:x val="2.7594202697018263E-3"/>
              <c:y val="0.3049822241971704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#,##0&quot;€&quot;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658987535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/>
      </a:pPr>
      <a:endParaRPr lang="fr-FR"/>
    </a:p>
  </c:txPr>
  <c:externalData r:id="rId3">
    <c:autoUpdate val="1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ubbleChart>
        <c:varyColors val="0"/>
        <c:ser>
          <c:idx val="0"/>
          <c:order val="0"/>
          <c:tx>
            <c:strRef>
              <c:f>'D0 - Promotions'!$CM$5</c:f>
              <c:strCache>
                <c:ptCount val="1"/>
                <c:pt idx="0">
                  <c:v>Y = Prix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 w="57150">
              <a:solidFill>
                <a:schemeClr val="tx2">
                  <a:lumMod val="60000"/>
                  <a:lumOff val="40000"/>
                </a:schemeClr>
              </a:solidFill>
            </a:ln>
            <a:effectLst/>
          </c:spPr>
          <c:invertIfNegative val="0"/>
          <c:xVal>
            <c:numRef>
              <c:f>'D0 - Promotions'!$CL$6:$CL$245</c:f>
              <c:numCache>
                <c:formatCode>General</c:formatCode>
                <c:ptCount val="24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2</c:v>
                </c:pt>
                <c:pt idx="21">
                  <c:v>2</c:v>
                </c:pt>
                <c:pt idx="22">
                  <c:v>2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2</c:v>
                </c:pt>
                <c:pt idx="28">
                  <c:v>2</c:v>
                </c:pt>
                <c:pt idx="29">
                  <c:v>2</c:v>
                </c:pt>
                <c:pt idx="30">
                  <c:v>2</c:v>
                </c:pt>
                <c:pt idx="31">
                  <c:v>2</c:v>
                </c:pt>
                <c:pt idx="32">
                  <c:v>2</c:v>
                </c:pt>
                <c:pt idx="33">
                  <c:v>2</c:v>
                </c:pt>
                <c:pt idx="34">
                  <c:v>2</c:v>
                </c:pt>
                <c:pt idx="35">
                  <c:v>2</c:v>
                </c:pt>
                <c:pt idx="36">
                  <c:v>2</c:v>
                </c:pt>
                <c:pt idx="37">
                  <c:v>2</c:v>
                </c:pt>
                <c:pt idx="38">
                  <c:v>2</c:v>
                </c:pt>
                <c:pt idx="39">
                  <c:v>2</c:v>
                </c:pt>
                <c:pt idx="40">
                  <c:v>3</c:v>
                </c:pt>
                <c:pt idx="41">
                  <c:v>3</c:v>
                </c:pt>
                <c:pt idx="42">
                  <c:v>3</c:v>
                </c:pt>
                <c:pt idx="43">
                  <c:v>3</c:v>
                </c:pt>
                <c:pt idx="44">
                  <c:v>3</c:v>
                </c:pt>
                <c:pt idx="45">
                  <c:v>3</c:v>
                </c:pt>
                <c:pt idx="46">
                  <c:v>3</c:v>
                </c:pt>
                <c:pt idx="47">
                  <c:v>3</c:v>
                </c:pt>
                <c:pt idx="48">
                  <c:v>3</c:v>
                </c:pt>
                <c:pt idx="49">
                  <c:v>3</c:v>
                </c:pt>
                <c:pt idx="50">
                  <c:v>3</c:v>
                </c:pt>
                <c:pt idx="51">
                  <c:v>3</c:v>
                </c:pt>
                <c:pt idx="52">
                  <c:v>3</c:v>
                </c:pt>
                <c:pt idx="53">
                  <c:v>3</c:v>
                </c:pt>
                <c:pt idx="54">
                  <c:v>3</c:v>
                </c:pt>
                <c:pt idx="55">
                  <c:v>3</c:v>
                </c:pt>
                <c:pt idx="56">
                  <c:v>3</c:v>
                </c:pt>
                <c:pt idx="57">
                  <c:v>3</c:v>
                </c:pt>
                <c:pt idx="58">
                  <c:v>3</c:v>
                </c:pt>
                <c:pt idx="59">
                  <c:v>3</c:v>
                </c:pt>
                <c:pt idx="60">
                  <c:v>4</c:v>
                </c:pt>
                <c:pt idx="61">
                  <c:v>4</c:v>
                </c:pt>
                <c:pt idx="62">
                  <c:v>4</c:v>
                </c:pt>
                <c:pt idx="63">
                  <c:v>4</c:v>
                </c:pt>
                <c:pt idx="64">
                  <c:v>4</c:v>
                </c:pt>
                <c:pt idx="65">
                  <c:v>4</c:v>
                </c:pt>
                <c:pt idx="66">
                  <c:v>4</c:v>
                </c:pt>
                <c:pt idx="67">
                  <c:v>4</c:v>
                </c:pt>
                <c:pt idx="68">
                  <c:v>4</c:v>
                </c:pt>
                <c:pt idx="69">
                  <c:v>4</c:v>
                </c:pt>
                <c:pt idx="70">
                  <c:v>4</c:v>
                </c:pt>
                <c:pt idx="71">
                  <c:v>4</c:v>
                </c:pt>
                <c:pt idx="72">
                  <c:v>4</c:v>
                </c:pt>
                <c:pt idx="73">
                  <c:v>4</c:v>
                </c:pt>
                <c:pt idx="74">
                  <c:v>4</c:v>
                </c:pt>
                <c:pt idx="75">
                  <c:v>4</c:v>
                </c:pt>
                <c:pt idx="76">
                  <c:v>4</c:v>
                </c:pt>
                <c:pt idx="77">
                  <c:v>4</c:v>
                </c:pt>
                <c:pt idx="78">
                  <c:v>4</c:v>
                </c:pt>
                <c:pt idx="79">
                  <c:v>4</c:v>
                </c:pt>
                <c:pt idx="80">
                  <c:v>5</c:v>
                </c:pt>
                <c:pt idx="81">
                  <c:v>5</c:v>
                </c:pt>
                <c:pt idx="82">
                  <c:v>5</c:v>
                </c:pt>
                <c:pt idx="83">
                  <c:v>5</c:v>
                </c:pt>
                <c:pt idx="84">
                  <c:v>5</c:v>
                </c:pt>
                <c:pt idx="85">
                  <c:v>5</c:v>
                </c:pt>
                <c:pt idx="86">
                  <c:v>5</c:v>
                </c:pt>
                <c:pt idx="87">
                  <c:v>5</c:v>
                </c:pt>
                <c:pt idx="88">
                  <c:v>5</c:v>
                </c:pt>
                <c:pt idx="89">
                  <c:v>5</c:v>
                </c:pt>
                <c:pt idx="90">
                  <c:v>5</c:v>
                </c:pt>
                <c:pt idx="91">
                  <c:v>5</c:v>
                </c:pt>
                <c:pt idx="92">
                  <c:v>5</c:v>
                </c:pt>
                <c:pt idx="93">
                  <c:v>5</c:v>
                </c:pt>
                <c:pt idx="94">
                  <c:v>5</c:v>
                </c:pt>
                <c:pt idx="95">
                  <c:v>5</c:v>
                </c:pt>
                <c:pt idx="96">
                  <c:v>5</c:v>
                </c:pt>
                <c:pt idx="97">
                  <c:v>5</c:v>
                </c:pt>
                <c:pt idx="98">
                  <c:v>5</c:v>
                </c:pt>
                <c:pt idx="99">
                  <c:v>5</c:v>
                </c:pt>
                <c:pt idx="100">
                  <c:v>6</c:v>
                </c:pt>
                <c:pt idx="101">
                  <c:v>6</c:v>
                </c:pt>
                <c:pt idx="102">
                  <c:v>6</c:v>
                </c:pt>
                <c:pt idx="103">
                  <c:v>6</c:v>
                </c:pt>
                <c:pt idx="104">
                  <c:v>6</c:v>
                </c:pt>
                <c:pt idx="105">
                  <c:v>6</c:v>
                </c:pt>
                <c:pt idx="106">
                  <c:v>6</c:v>
                </c:pt>
                <c:pt idx="107">
                  <c:v>6</c:v>
                </c:pt>
                <c:pt idx="108">
                  <c:v>6</c:v>
                </c:pt>
                <c:pt idx="109">
                  <c:v>6</c:v>
                </c:pt>
                <c:pt idx="110">
                  <c:v>6</c:v>
                </c:pt>
                <c:pt idx="111">
                  <c:v>6</c:v>
                </c:pt>
                <c:pt idx="112">
                  <c:v>6</c:v>
                </c:pt>
                <c:pt idx="113">
                  <c:v>6</c:v>
                </c:pt>
                <c:pt idx="114">
                  <c:v>6</c:v>
                </c:pt>
                <c:pt idx="115">
                  <c:v>6</c:v>
                </c:pt>
                <c:pt idx="116">
                  <c:v>6</c:v>
                </c:pt>
                <c:pt idx="117">
                  <c:v>6</c:v>
                </c:pt>
                <c:pt idx="118">
                  <c:v>6</c:v>
                </c:pt>
                <c:pt idx="119">
                  <c:v>6</c:v>
                </c:pt>
                <c:pt idx="120">
                  <c:v>7</c:v>
                </c:pt>
                <c:pt idx="121">
                  <c:v>7</c:v>
                </c:pt>
                <c:pt idx="122">
                  <c:v>7</c:v>
                </c:pt>
                <c:pt idx="123">
                  <c:v>7</c:v>
                </c:pt>
                <c:pt idx="124">
                  <c:v>7</c:v>
                </c:pt>
                <c:pt idx="125">
                  <c:v>7</c:v>
                </c:pt>
                <c:pt idx="126">
                  <c:v>7</c:v>
                </c:pt>
                <c:pt idx="127">
                  <c:v>7</c:v>
                </c:pt>
                <c:pt idx="128">
                  <c:v>7</c:v>
                </c:pt>
                <c:pt idx="129">
                  <c:v>7</c:v>
                </c:pt>
                <c:pt idx="130">
                  <c:v>7</c:v>
                </c:pt>
                <c:pt idx="131">
                  <c:v>7</c:v>
                </c:pt>
                <c:pt idx="132">
                  <c:v>7</c:v>
                </c:pt>
                <c:pt idx="133">
                  <c:v>7</c:v>
                </c:pt>
                <c:pt idx="134">
                  <c:v>7</c:v>
                </c:pt>
                <c:pt idx="135">
                  <c:v>7</c:v>
                </c:pt>
                <c:pt idx="136">
                  <c:v>7</c:v>
                </c:pt>
                <c:pt idx="137">
                  <c:v>7</c:v>
                </c:pt>
                <c:pt idx="138">
                  <c:v>7</c:v>
                </c:pt>
                <c:pt idx="139">
                  <c:v>7</c:v>
                </c:pt>
                <c:pt idx="140">
                  <c:v>8</c:v>
                </c:pt>
                <c:pt idx="141">
                  <c:v>8</c:v>
                </c:pt>
                <c:pt idx="142">
                  <c:v>8</c:v>
                </c:pt>
                <c:pt idx="143">
                  <c:v>8</c:v>
                </c:pt>
                <c:pt idx="144">
                  <c:v>8</c:v>
                </c:pt>
                <c:pt idx="145">
                  <c:v>8</c:v>
                </c:pt>
                <c:pt idx="146">
                  <c:v>8</c:v>
                </c:pt>
                <c:pt idx="147">
                  <c:v>8</c:v>
                </c:pt>
                <c:pt idx="148">
                  <c:v>8</c:v>
                </c:pt>
                <c:pt idx="149">
                  <c:v>8</c:v>
                </c:pt>
                <c:pt idx="150">
                  <c:v>8</c:v>
                </c:pt>
                <c:pt idx="151">
                  <c:v>8</c:v>
                </c:pt>
                <c:pt idx="152">
                  <c:v>8</c:v>
                </c:pt>
                <c:pt idx="153">
                  <c:v>8</c:v>
                </c:pt>
                <c:pt idx="154">
                  <c:v>8</c:v>
                </c:pt>
                <c:pt idx="155">
                  <c:v>8</c:v>
                </c:pt>
                <c:pt idx="156">
                  <c:v>8</c:v>
                </c:pt>
                <c:pt idx="157">
                  <c:v>8</c:v>
                </c:pt>
                <c:pt idx="158">
                  <c:v>8</c:v>
                </c:pt>
                <c:pt idx="159">
                  <c:v>8</c:v>
                </c:pt>
                <c:pt idx="160">
                  <c:v>9</c:v>
                </c:pt>
                <c:pt idx="161">
                  <c:v>9</c:v>
                </c:pt>
                <c:pt idx="162">
                  <c:v>9</c:v>
                </c:pt>
                <c:pt idx="163">
                  <c:v>9</c:v>
                </c:pt>
                <c:pt idx="164">
                  <c:v>9</c:v>
                </c:pt>
                <c:pt idx="165">
                  <c:v>9</c:v>
                </c:pt>
                <c:pt idx="166">
                  <c:v>9</c:v>
                </c:pt>
                <c:pt idx="167">
                  <c:v>9</c:v>
                </c:pt>
                <c:pt idx="168">
                  <c:v>9</c:v>
                </c:pt>
                <c:pt idx="169">
                  <c:v>9</c:v>
                </c:pt>
                <c:pt idx="170">
                  <c:v>9</c:v>
                </c:pt>
                <c:pt idx="171">
                  <c:v>9</c:v>
                </c:pt>
                <c:pt idx="172">
                  <c:v>9</c:v>
                </c:pt>
                <c:pt idx="173">
                  <c:v>9</c:v>
                </c:pt>
                <c:pt idx="174">
                  <c:v>9</c:v>
                </c:pt>
                <c:pt idx="175">
                  <c:v>9</c:v>
                </c:pt>
                <c:pt idx="176">
                  <c:v>9</c:v>
                </c:pt>
                <c:pt idx="177">
                  <c:v>9</c:v>
                </c:pt>
                <c:pt idx="178">
                  <c:v>9</c:v>
                </c:pt>
                <c:pt idx="179">
                  <c:v>9</c:v>
                </c:pt>
                <c:pt idx="180">
                  <c:v>10</c:v>
                </c:pt>
                <c:pt idx="181">
                  <c:v>10</c:v>
                </c:pt>
                <c:pt idx="182">
                  <c:v>10</c:v>
                </c:pt>
                <c:pt idx="183">
                  <c:v>10</c:v>
                </c:pt>
                <c:pt idx="184">
                  <c:v>10</c:v>
                </c:pt>
                <c:pt idx="185">
                  <c:v>10</c:v>
                </c:pt>
                <c:pt idx="186">
                  <c:v>10</c:v>
                </c:pt>
                <c:pt idx="187">
                  <c:v>10</c:v>
                </c:pt>
                <c:pt idx="188">
                  <c:v>10</c:v>
                </c:pt>
                <c:pt idx="189">
                  <c:v>10</c:v>
                </c:pt>
                <c:pt idx="190">
                  <c:v>10</c:v>
                </c:pt>
                <c:pt idx="191">
                  <c:v>10</c:v>
                </c:pt>
                <c:pt idx="192">
                  <c:v>10</c:v>
                </c:pt>
                <c:pt idx="193">
                  <c:v>10</c:v>
                </c:pt>
                <c:pt idx="194">
                  <c:v>10</c:v>
                </c:pt>
                <c:pt idx="195">
                  <c:v>10</c:v>
                </c:pt>
                <c:pt idx="196">
                  <c:v>10</c:v>
                </c:pt>
                <c:pt idx="197">
                  <c:v>10</c:v>
                </c:pt>
                <c:pt idx="198">
                  <c:v>10</c:v>
                </c:pt>
                <c:pt idx="199">
                  <c:v>10</c:v>
                </c:pt>
                <c:pt idx="200">
                  <c:v>11</c:v>
                </c:pt>
                <c:pt idx="201">
                  <c:v>11</c:v>
                </c:pt>
                <c:pt idx="202">
                  <c:v>11</c:v>
                </c:pt>
                <c:pt idx="203">
                  <c:v>11</c:v>
                </c:pt>
                <c:pt idx="204">
                  <c:v>11</c:v>
                </c:pt>
                <c:pt idx="205">
                  <c:v>11</c:v>
                </c:pt>
                <c:pt idx="206">
                  <c:v>11</c:v>
                </c:pt>
                <c:pt idx="207">
                  <c:v>11</c:v>
                </c:pt>
                <c:pt idx="208">
                  <c:v>11</c:v>
                </c:pt>
                <c:pt idx="209">
                  <c:v>11</c:v>
                </c:pt>
                <c:pt idx="210">
                  <c:v>11</c:v>
                </c:pt>
                <c:pt idx="211">
                  <c:v>11</c:v>
                </c:pt>
                <c:pt idx="212">
                  <c:v>11</c:v>
                </c:pt>
                <c:pt idx="213">
                  <c:v>11</c:v>
                </c:pt>
                <c:pt idx="214">
                  <c:v>11</c:v>
                </c:pt>
                <c:pt idx="215">
                  <c:v>11</c:v>
                </c:pt>
                <c:pt idx="216">
                  <c:v>11</c:v>
                </c:pt>
                <c:pt idx="217">
                  <c:v>11</c:v>
                </c:pt>
                <c:pt idx="218">
                  <c:v>11</c:v>
                </c:pt>
                <c:pt idx="219">
                  <c:v>11</c:v>
                </c:pt>
                <c:pt idx="220">
                  <c:v>12</c:v>
                </c:pt>
                <c:pt idx="221">
                  <c:v>12</c:v>
                </c:pt>
                <c:pt idx="222">
                  <c:v>12</c:v>
                </c:pt>
                <c:pt idx="223">
                  <c:v>12</c:v>
                </c:pt>
                <c:pt idx="224">
                  <c:v>12</c:v>
                </c:pt>
                <c:pt idx="225">
                  <c:v>12</c:v>
                </c:pt>
                <c:pt idx="226">
                  <c:v>12</c:v>
                </c:pt>
                <c:pt idx="227">
                  <c:v>12</c:v>
                </c:pt>
                <c:pt idx="228">
                  <c:v>12</c:v>
                </c:pt>
                <c:pt idx="229">
                  <c:v>12</c:v>
                </c:pt>
                <c:pt idx="230">
                  <c:v>12</c:v>
                </c:pt>
                <c:pt idx="231">
                  <c:v>12</c:v>
                </c:pt>
                <c:pt idx="232">
                  <c:v>12</c:v>
                </c:pt>
                <c:pt idx="233">
                  <c:v>12</c:v>
                </c:pt>
                <c:pt idx="234">
                  <c:v>12</c:v>
                </c:pt>
                <c:pt idx="235">
                  <c:v>12</c:v>
                </c:pt>
                <c:pt idx="236">
                  <c:v>12</c:v>
                </c:pt>
                <c:pt idx="237">
                  <c:v>12</c:v>
                </c:pt>
                <c:pt idx="238">
                  <c:v>12</c:v>
                </c:pt>
                <c:pt idx="239">
                  <c:v>12</c:v>
                </c:pt>
              </c:numCache>
            </c:numRef>
          </c:xVal>
          <c:yVal>
            <c:numRef>
              <c:f>'D0 - Promotions'!$CM$6:$CM$245</c:f>
              <c:numCache>
                <c:formatCode>General</c:formatCode>
                <c:ptCount val="240"/>
                <c:pt idx="0" formatCode="&quot;€&quot;#,##0.00_);[Red]\(&quot;€&quot;#,##0.00\)">
                  <c:v>25.65</c:v>
                </c:pt>
                <c:pt idx="1">
                  <c:v>26.3</c:v>
                </c:pt>
                <c:pt idx="2">
                  <c:v>26.95</c:v>
                </c:pt>
                <c:pt idx="3">
                  <c:v>27.6</c:v>
                </c:pt>
                <c:pt idx="4">
                  <c:v>28.25</c:v>
                </c:pt>
                <c:pt idx="5">
                  <c:v>28.9</c:v>
                </c:pt>
                <c:pt idx="6">
                  <c:v>29.55</c:v>
                </c:pt>
                <c:pt idx="7">
                  <c:v>30.2</c:v>
                </c:pt>
                <c:pt idx="8">
                  <c:v>30.85</c:v>
                </c:pt>
                <c:pt idx="9">
                  <c:v>31.5</c:v>
                </c:pt>
                <c:pt idx="10">
                  <c:v>32.15</c:v>
                </c:pt>
                <c:pt idx="11">
                  <c:v>32.799999999999997</c:v>
                </c:pt>
                <c:pt idx="12">
                  <c:v>33.450000000000003</c:v>
                </c:pt>
                <c:pt idx="13">
                  <c:v>34.1</c:v>
                </c:pt>
                <c:pt idx="14">
                  <c:v>34.75</c:v>
                </c:pt>
                <c:pt idx="15">
                  <c:v>35.4</c:v>
                </c:pt>
                <c:pt idx="16">
                  <c:v>36.049999999999997</c:v>
                </c:pt>
                <c:pt idx="17">
                  <c:v>36.700000000000003</c:v>
                </c:pt>
                <c:pt idx="18">
                  <c:v>37.35</c:v>
                </c:pt>
                <c:pt idx="19">
                  <c:v>38</c:v>
                </c:pt>
                <c:pt idx="20">
                  <c:v>25.65</c:v>
                </c:pt>
                <c:pt idx="21">
                  <c:v>26.3</c:v>
                </c:pt>
                <c:pt idx="22">
                  <c:v>26.950000000000003</c:v>
                </c:pt>
                <c:pt idx="23">
                  <c:v>27.599999999999998</c:v>
                </c:pt>
                <c:pt idx="24">
                  <c:v>28.25</c:v>
                </c:pt>
                <c:pt idx="25">
                  <c:v>28.9</c:v>
                </c:pt>
                <c:pt idx="26">
                  <c:v>29.55</c:v>
                </c:pt>
                <c:pt idx="27">
                  <c:v>30.200000000000003</c:v>
                </c:pt>
                <c:pt idx="28">
                  <c:v>30.849999999999998</c:v>
                </c:pt>
                <c:pt idx="29">
                  <c:v>31.5</c:v>
                </c:pt>
                <c:pt idx="30">
                  <c:v>32.15</c:v>
                </c:pt>
                <c:pt idx="31">
                  <c:v>32.799999999999997</c:v>
                </c:pt>
                <c:pt idx="32">
                  <c:v>33.450000000000003</c:v>
                </c:pt>
                <c:pt idx="33">
                  <c:v>34.099999999999994</c:v>
                </c:pt>
                <c:pt idx="34">
                  <c:v>34.75</c:v>
                </c:pt>
                <c:pt idx="35">
                  <c:v>35.4</c:v>
                </c:pt>
                <c:pt idx="36">
                  <c:v>36.049999999999997</c:v>
                </c:pt>
                <c:pt idx="37">
                  <c:v>36.700000000000003</c:v>
                </c:pt>
                <c:pt idx="38">
                  <c:v>37.35</c:v>
                </c:pt>
                <c:pt idx="39">
                  <c:v>38</c:v>
                </c:pt>
                <c:pt idx="40">
                  <c:v>25.65</c:v>
                </c:pt>
                <c:pt idx="41">
                  <c:v>26.299999999999997</c:v>
                </c:pt>
                <c:pt idx="42">
                  <c:v>26.950000000000003</c:v>
                </c:pt>
                <c:pt idx="43">
                  <c:v>27.599999999999998</c:v>
                </c:pt>
                <c:pt idx="44">
                  <c:v>28.250000000000004</c:v>
                </c:pt>
                <c:pt idx="45">
                  <c:v>28.9</c:v>
                </c:pt>
                <c:pt idx="46">
                  <c:v>29.549999999999997</c:v>
                </c:pt>
                <c:pt idx="47">
                  <c:v>30.200000000000003</c:v>
                </c:pt>
                <c:pt idx="48">
                  <c:v>30.849999999999998</c:v>
                </c:pt>
                <c:pt idx="49">
                  <c:v>31.500000000000004</c:v>
                </c:pt>
                <c:pt idx="50">
                  <c:v>32.15</c:v>
                </c:pt>
                <c:pt idx="51">
                  <c:v>32.799999999999997</c:v>
                </c:pt>
                <c:pt idx="52">
                  <c:v>33.450000000000003</c:v>
                </c:pt>
                <c:pt idx="53">
                  <c:v>34.099999999999994</c:v>
                </c:pt>
                <c:pt idx="54">
                  <c:v>34.75</c:v>
                </c:pt>
                <c:pt idx="55">
                  <c:v>35.4</c:v>
                </c:pt>
                <c:pt idx="56">
                  <c:v>36.049999999999997</c:v>
                </c:pt>
                <c:pt idx="57">
                  <c:v>36.700000000000003</c:v>
                </c:pt>
                <c:pt idx="58">
                  <c:v>37.35</c:v>
                </c:pt>
                <c:pt idx="59">
                  <c:v>38</c:v>
                </c:pt>
                <c:pt idx="60">
                  <c:v>25.65</c:v>
                </c:pt>
                <c:pt idx="61">
                  <c:v>26.299999999999997</c:v>
                </c:pt>
                <c:pt idx="62">
                  <c:v>26.950000000000003</c:v>
                </c:pt>
                <c:pt idx="63">
                  <c:v>27.599999999999998</c:v>
                </c:pt>
                <c:pt idx="64">
                  <c:v>28.250000000000004</c:v>
                </c:pt>
                <c:pt idx="65">
                  <c:v>28.9</c:v>
                </c:pt>
                <c:pt idx="66">
                  <c:v>29.549999999999997</c:v>
                </c:pt>
                <c:pt idx="67">
                  <c:v>30.200000000000003</c:v>
                </c:pt>
                <c:pt idx="68">
                  <c:v>30.849999999999998</c:v>
                </c:pt>
                <c:pt idx="69">
                  <c:v>31.500000000000004</c:v>
                </c:pt>
                <c:pt idx="70">
                  <c:v>32.15</c:v>
                </c:pt>
                <c:pt idx="71">
                  <c:v>32.799999999999997</c:v>
                </c:pt>
                <c:pt idx="72">
                  <c:v>33.450000000000003</c:v>
                </c:pt>
                <c:pt idx="73">
                  <c:v>34.099999999999994</c:v>
                </c:pt>
                <c:pt idx="74">
                  <c:v>34.75</c:v>
                </c:pt>
                <c:pt idx="75">
                  <c:v>35.4</c:v>
                </c:pt>
                <c:pt idx="76">
                  <c:v>36.049999999999997</c:v>
                </c:pt>
                <c:pt idx="77">
                  <c:v>36.700000000000003</c:v>
                </c:pt>
                <c:pt idx="78">
                  <c:v>37.35</c:v>
                </c:pt>
                <c:pt idx="79">
                  <c:v>38</c:v>
                </c:pt>
                <c:pt idx="80">
                  <c:v>25.65</c:v>
                </c:pt>
                <c:pt idx="81">
                  <c:v>26.299999999999997</c:v>
                </c:pt>
                <c:pt idx="82">
                  <c:v>26.949999999999996</c:v>
                </c:pt>
                <c:pt idx="83">
                  <c:v>27.600000000000005</c:v>
                </c:pt>
                <c:pt idx="84">
                  <c:v>28.250000000000004</c:v>
                </c:pt>
                <c:pt idx="85">
                  <c:v>28.9</c:v>
                </c:pt>
                <c:pt idx="86">
                  <c:v>29.549999999999997</c:v>
                </c:pt>
                <c:pt idx="87">
                  <c:v>30.199999999999996</c:v>
                </c:pt>
                <c:pt idx="88">
                  <c:v>30.850000000000005</c:v>
                </c:pt>
                <c:pt idx="89">
                  <c:v>31.500000000000004</c:v>
                </c:pt>
                <c:pt idx="90">
                  <c:v>32.15</c:v>
                </c:pt>
                <c:pt idx="91">
                  <c:v>32.799999999999997</c:v>
                </c:pt>
                <c:pt idx="92">
                  <c:v>33.449999999999996</c:v>
                </c:pt>
                <c:pt idx="93">
                  <c:v>34.100000000000009</c:v>
                </c:pt>
                <c:pt idx="94">
                  <c:v>34.75</c:v>
                </c:pt>
                <c:pt idx="95">
                  <c:v>35.4</c:v>
                </c:pt>
                <c:pt idx="96">
                  <c:v>36.049999999999997</c:v>
                </c:pt>
                <c:pt idx="97">
                  <c:v>36.699999999999996</c:v>
                </c:pt>
                <c:pt idx="98">
                  <c:v>37.350000000000009</c:v>
                </c:pt>
                <c:pt idx="99">
                  <c:v>38</c:v>
                </c:pt>
                <c:pt idx="100">
                  <c:v>25.65</c:v>
                </c:pt>
                <c:pt idx="101">
                  <c:v>26.299999999999997</c:v>
                </c:pt>
                <c:pt idx="102">
                  <c:v>26.949999999999996</c:v>
                </c:pt>
                <c:pt idx="103">
                  <c:v>27.600000000000005</c:v>
                </c:pt>
                <c:pt idx="104">
                  <c:v>28.250000000000004</c:v>
                </c:pt>
                <c:pt idx="105">
                  <c:v>28.9</c:v>
                </c:pt>
                <c:pt idx="106">
                  <c:v>29.549999999999997</c:v>
                </c:pt>
                <c:pt idx="107">
                  <c:v>30.199999999999996</c:v>
                </c:pt>
                <c:pt idx="108">
                  <c:v>30.850000000000005</c:v>
                </c:pt>
                <c:pt idx="109">
                  <c:v>31.500000000000004</c:v>
                </c:pt>
                <c:pt idx="110">
                  <c:v>32.15</c:v>
                </c:pt>
                <c:pt idx="111">
                  <c:v>32.799999999999997</c:v>
                </c:pt>
                <c:pt idx="112">
                  <c:v>33.449999999999996</c:v>
                </c:pt>
                <c:pt idx="113">
                  <c:v>34.100000000000009</c:v>
                </c:pt>
                <c:pt idx="114">
                  <c:v>34.75</c:v>
                </c:pt>
                <c:pt idx="115">
                  <c:v>35.4</c:v>
                </c:pt>
                <c:pt idx="116">
                  <c:v>36.049999999999997</c:v>
                </c:pt>
                <c:pt idx="117">
                  <c:v>36.699999999999996</c:v>
                </c:pt>
                <c:pt idx="118">
                  <c:v>37.350000000000009</c:v>
                </c:pt>
                <c:pt idx="119">
                  <c:v>38</c:v>
                </c:pt>
                <c:pt idx="120">
                  <c:v>25.65</c:v>
                </c:pt>
                <c:pt idx="121">
                  <c:v>26.299999999999997</c:v>
                </c:pt>
                <c:pt idx="122">
                  <c:v>26.949999999999996</c:v>
                </c:pt>
                <c:pt idx="123">
                  <c:v>27.600000000000005</c:v>
                </c:pt>
                <c:pt idx="124">
                  <c:v>28.250000000000004</c:v>
                </c:pt>
                <c:pt idx="125">
                  <c:v>28.9</c:v>
                </c:pt>
                <c:pt idx="126">
                  <c:v>29.549999999999997</c:v>
                </c:pt>
                <c:pt idx="127">
                  <c:v>30.199999999999996</c:v>
                </c:pt>
                <c:pt idx="128">
                  <c:v>30.850000000000005</c:v>
                </c:pt>
                <c:pt idx="129">
                  <c:v>31.500000000000004</c:v>
                </c:pt>
                <c:pt idx="130">
                  <c:v>32.15</c:v>
                </c:pt>
                <c:pt idx="131">
                  <c:v>32.799999999999997</c:v>
                </c:pt>
                <c:pt idx="132">
                  <c:v>33.449999999999996</c:v>
                </c:pt>
                <c:pt idx="133">
                  <c:v>34.100000000000009</c:v>
                </c:pt>
                <c:pt idx="134">
                  <c:v>34.75</c:v>
                </c:pt>
                <c:pt idx="135">
                  <c:v>35.4</c:v>
                </c:pt>
                <c:pt idx="136">
                  <c:v>36.049999999999997</c:v>
                </c:pt>
                <c:pt idx="137">
                  <c:v>36.699999999999996</c:v>
                </c:pt>
                <c:pt idx="138">
                  <c:v>37.350000000000009</c:v>
                </c:pt>
                <c:pt idx="139">
                  <c:v>38</c:v>
                </c:pt>
                <c:pt idx="140">
                  <c:v>25.65</c:v>
                </c:pt>
                <c:pt idx="141">
                  <c:v>26.299999999999997</c:v>
                </c:pt>
                <c:pt idx="142">
                  <c:v>26.949999999999996</c:v>
                </c:pt>
                <c:pt idx="143">
                  <c:v>27.600000000000005</c:v>
                </c:pt>
                <c:pt idx="144">
                  <c:v>28.250000000000004</c:v>
                </c:pt>
                <c:pt idx="145">
                  <c:v>28.9</c:v>
                </c:pt>
                <c:pt idx="146">
                  <c:v>29.549999999999997</c:v>
                </c:pt>
                <c:pt idx="147">
                  <c:v>30.199999999999996</c:v>
                </c:pt>
                <c:pt idx="148">
                  <c:v>30.850000000000005</c:v>
                </c:pt>
                <c:pt idx="149">
                  <c:v>31.500000000000004</c:v>
                </c:pt>
                <c:pt idx="150">
                  <c:v>32.15</c:v>
                </c:pt>
                <c:pt idx="151">
                  <c:v>32.799999999999997</c:v>
                </c:pt>
                <c:pt idx="152">
                  <c:v>33.449999999999996</c:v>
                </c:pt>
                <c:pt idx="153">
                  <c:v>34.100000000000009</c:v>
                </c:pt>
                <c:pt idx="154">
                  <c:v>34.75</c:v>
                </c:pt>
                <c:pt idx="155">
                  <c:v>35.4</c:v>
                </c:pt>
                <c:pt idx="156">
                  <c:v>36.049999999999997</c:v>
                </c:pt>
                <c:pt idx="157">
                  <c:v>36.699999999999996</c:v>
                </c:pt>
                <c:pt idx="158">
                  <c:v>37.350000000000009</c:v>
                </c:pt>
                <c:pt idx="159">
                  <c:v>38</c:v>
                </c:pt>
                <c:pt idx="160">
                  <c:v>25.65</c:v>
                </c:pt>
                <c:pt idx="161">
                  <c:v>26.300000000000008</c:v>
                </c:pt>
                <c:pt idx="162">
                  <c:v>26.949999999999996</c:v>
                </c:pt>
                <c:pt idx="163">
                  <c:v>27.600000000000005</c:v>
                </c:pt>
                <c:pt idx="164">
                  <c:v>28.249999999999989</c:v>
                </c:pt>
                <c:pt idx="165">
                  <c:v>28.9</c:v>
                </c:pt>
                <c:pt idx="166">
                  <c:v>29.550000000000011</c:v>
                </c:pt>
                <c:pt idx="167">
                  <c:v>30.199999999999996</c:v>
                </c:pt>
                <c:pt idx="168">
                  <c:v>30.850000000000005</c:v>
                </c:pt>
                <c:pt idx="169">
                  <c:v>31.499999999999993</c:v>
                </c:pt>
                <c:pt idx="170">
                  <c:v>32.15</c:v>
                </c:pt>
                <c:pt idx="171">
                  <c:v>32.800000000000011</c:v>
                </c:pt>
                <c:pt idx="172">
                  <c:v>33.449999999999996</c:v>
                </c:pt>
                <c:pt idx="173">
                  <c:v>34.100000000000009</c:v>
                </c:pt>
                <c:pt idx="174">
                  <c:v>34.749999999999993</c:v>
                </c:pt>
                <c:pt idx="175">
                  <c:v>35.4</c:v>
                </c:pt>
                <c:pt idx="176">
                  <c:v>36.050000000000011</c:v>
                </c:pt>
                <c:pt idx="177">
                  <c:v>36.699999999999996</c:v>
                </c:pt>
                <c:pt idx="178">
                  <c:v>37.350000000000009</c:v>
                </c:pt>
                <c:pt idx="179">
                  <c:v>37.999999999999993</c:v>
                </c:pt>
                <c:pt idx="180">
                  <c:v>25.65</c:v>
                </c:pt>
                <c:pt idx="181">
                  <c:v>26.300000000000008</c:v>
                </c:pt>
                <c:pt idx="182">
                  <c:v>26.949999999999996</c:v>
                </c:pt>
                <c:pt idx="183">
                  <c:v>27.600000000000005</c:v>
                </c:pt>
                <c:pt idx="184">
                  <c:v>28.249999999999989</c:v>
                </c:pt>
                <c:pt idx="185">
                  <c:v>28.9</c:v>
                </c:pt>
                <c:pt idx="186">
                  <c:v>29.550000000000011</c:v>
                </c:pt>
                <c:pt idx="187">
                  <c:v>30.199999999999996</c:v>
                </c:pt>
                <c:pt idx="188">
                  <c:v>30.850000000000005</c:v>
                </c:pt>
                <c:pt idx="189">
                  <c:v>31.499999999999993</c:v>
                </c:pt>
                <c:pt idx="190">
                  <c:v>32.15</c:v>
                </c:pt>
                <c:pt idx="191">
                  <c:v>32.800000000000011</c:v>
                </c:pt>
                <c:pt idx="192">
                  <c:v>33.449999999999996</c:v>
                </c:pt>
                <c:pt idx="193">
                  <c:v>34.100000000000009</c:v>
                </c:pt>
                <c:pt idx="194">
                  <c:v>34.749999999999993</c:v>
                </c:pt>
                <c:pt idx="195">
                  <c:v>35.4</c:v>
                </c:pt>
                <c:pt idx="196">
                  <c:v>36.050000000000011</c:v>
                </c:pt>
                <c:pt idx="197">
                  <c:v>36.699999999999996</c:v>
                </c:pt>
                <c:pt idx="198">
                  <c:v>37.350000000000009</c:v>
                </c:pt>
                <c:pt idx="199">
                  <c:v>37.999999999999993</c:v>
                </c:pt>
                <c:pt idx="200">
                  <c:v>25.65</c:v>
                </c:pt>
                <c:pt idx="201">
                  <c:v>26.300000000000008</c:v>
                </c:pt>
                <c:pt idx="202">
                  <c:v>26.949999999999996</c:v>
                </c:pt>
                <c:pt idx="203">
                  <c:v>27.600000000000005</c:v>
                </c:pt>
                <c:pt idx="204">
                  <c:v>28.249999999999989</c:v>
                </c:pt>
                <c:pt idx="205">
                  <c:v>28.9</c:v>
                </c:pt>
                <c:pt idx="206">
                  <c:v>29.550000000000011</c:v>
                </c:pt>
                <c:pt idx="207">
                  <c:v>30.199999999999996</c:v>
                </c:pt>
                <c:pt idx="208">
                  <c:v>30.850000000000005</c:v>
                </c:pt>
                <c:pt idx="209">
                  <c:v>31.499999999999993</c:v>
                </c:pt>
                <c:pt idx="210">
                  <c:v>32.15</c:v>
                </c:pt>
                <c:pt idx="211">
                  <c:v>32.800000000000011</c:v>
                </c:pt>
                <c:pt idx="212">
                  <c:v>33.449999999999996</c:v>
                </c:pt>
                <c:pt idx="213">
                  <c:v>34.100000000000009</c:v>
                </c:pt>
                <c:pt idx="214">
                  <c:v>34.749999999999993</c:v>
                </c:pt>
                <c:pt idx="215">
                  <c:v>35.4</c:v>
                </c:pt>
                <c:pt idx="216">
                  <c:v>36.050000000000011</c:v>
                </c:pt>
                <c:pt idx="217">
                  <c:v>36.699999999999996</c:v>
                </c:pt>
                <c:pt idx="218">
                  <c:v>37.350000000000009</c:v>
                </c:pt>
                <c:pt idx="219">
                  <c:v>37.999999999999993</c:v>
                </c:pt>
                <c:pt idx="220">
                  <c:v>25.65</c:v>
                </c:pt>
                <c:pt idx="221">
                  <c:v>26.300000000000008</c:v>
                </c:pt>
                <c:pt idx="222">
                  <c:v>26.949999999999996</c:v>
                </c:pt>
                <c:pt idx="223">
                  <c:v>27.600000000000005</c:v>
                </c:pt>
                <c:pt idx="224">
                  <c:v>28.249999999999989</c:v>
                </c:pt>
                <c:pt idx="225">
                  <c:v>28.9</c:v>
                </c:pt>
                <c:pt idx="226">
                  <c:v>29.550000000000011</c:v>
                </c:pt>
                <c:pt idx="227">
                  <c:v>30.199999999999996</c:v>
                </c:pt>
                <c:pt idx="228">
                  <c:v>30.850000000000005</c:v>
                </c:pt>
                <c:pt idx="229">
                  <c:v>31.499999999999993</c:v>
                </c:pt>
                <c:pt idx="230">
                  <c:v>32.15</c:v>
                </c:pt>
                <c:pt idx="231">
                  <c:v>32.800000000000011</c:v>
                </c:pt>
                <c:pt idx="232">
                  <c:v>33.449999999999996</c:v>
                </c:pt>
                <c:pt idx="233">
                  <c:v>34.100000000000009</c:v>
                </c:pt>
                <c:pt idx="234">
                  <c:v>34.749999999999993</c:v>
                </c:pt>
                <c:pt idx="235">
                  <c:v>35.4</c:v>
                </c:pt>
                <c:pt idx="236">
                  <c:v>36.050000000000011</c:v>
                </c:pt>
                <c:pt idx="237">
                  <c:v>36.699999999999996</c:v>
                </c:pt>
                <c:pt idx="238">
                  <c:v>37.350000000000009</c:v>
                </c:pt>
                <c:pt idx="239">
                  <c:v>37.999999999999993</c:v>
                </c:pt>
              </c:numCache>
            </c:numRef>
          </c:yVal>
          <c:bubbleSize>
            <c:numRef>
              <c:f>'D0 - Promotions'!$CN$6:$CN$245</c:f>
              <c:numCache>
                <c:formatCode>0%</c:formatCode>
                <c:ptCount val="240"/>
                <c:pt idx="0">
                  <c:v>8.3333333333333332E-3</c:v>
                </c:pt>
                <c:pt idx="1">
                  <c:v>4.7619047619047623E-3</c:v>
                </c:pt>
                <c:pt idx="2">
                  <c:v>1.1904761904761906E-3</c:v>
                </c:pt>
                <c:pt idx="3">
                  <c:v>0.57499999999999996</c:v>
                </c:pt>
                <c:pt idx="4">
                  <c:v>0.17142857142857143</c:v>
                </c:pt>
                <c:pt idx="5">
                  <c:v>0.10238095238095238</c:v>
                </c:pt>
                <c:pt idx="6">
                  <c:v>0.05</c:v>
                </c:pt>
                <c:pt idx="7">
                  <c:v>2.976190476190476E-2</c:v>
                </c:pt>
                <c:pt idx="8">
                  <c:v>3.3333333333333333E-2</c:v>
                </c:pt>
                <c:pt idx="9">
                  <c:v>9.5238095238095247E-3</c:v>
                </c:pt>
                <c:pt idx="10">
                  <c:v>7.1428571428571426E-3</c:v>
                </c:pt>
                <c:pt idx="11">
                  <c:v>0</c:v>
                </c:pt>
                <c:pt idx="12">
                  <c:v>1.1904761904761906E-3</c:v>
                </c:pt>
                <c:pt idx="13">
                  <c:v>2.3809523809523812E-3</c:v>
                </c:pt>
                <c:pt idx="14">
                  <c:v>1.1904761904761906E-3</c:v>
                </c:pt>
                <c:pt idx="15">
                  <c:v>0</c:v>
                </c:pt>
                <c:pt idx="16">
                  <c:v>1.1904761904761906E-3</c:v>
                </c:pt>
                <c:pt idx="17">
                  <c:v>0</c:v>
                </c:pt>
                <c:pt idx="18">
                  <c:v>1.1904761904761906E-3</c:v>
                </c:pt>
                <c:pt idx="19">
                  <c:v>0</c:v>
                </c:pt>
                <c:pt idx="20">
                  <c:v>1.0638297872340425E-2</c:v>
                </c:pt>
                <c:pt idx="21">
                  <c:v>4.7281323877068557E-3</c:v>
                </c:pt>
                <c:pt idx="22">
                  <c:v>1.1820330969267139E-3</c:v>
                </c:pt>
                <c:pt idx="23">
                  <c:v>0.56619385342789597</c:v>
                </c:pt>
                <c:pt idx="24">
                  <c:v>0.17375886524822695</c:v>
                </c:pt>
                <c:pt idx="25">
                  <c:v>0.10047281323877069</c:v>
                </c:pt>
                <c:pt idx="26">
                  <c:v>5.0827423167848697E-2</c:v>
                </c:pt>
                <c:pt idx="27">
                  <c:v>3.0732860520094562E-2</c:v>
                </c:pt>
                <c:pt idx="28">
                  <c:v>3.5460992907801421E-2</c:v>
                </c:pt>
                <c:pt idx="29">
                  <c:v>9.4562647754137114E-3</c:v>
                </c:pt>
                <c:pt idx="30">
                  <c:v>8.2742316784869974E-3</c:v>
                </c:pt>
                <c:pt idx="31">
                  <c:v>0</c:v>
                </c:pt>
                <c:pt idx="32">
                  <c:v>1.1820330969267139E-3</c:v>
                </c:pt>
                <c:pt idx="33">
                  <c:v>2.3640661938534278E-3</c:v>
                </c:pt>
                <c:pt idx="34">
                  <c:v>1.1820330969267139E-3</c:v>
                </c:pt>
                <c:pt idx="35">
                  <c:v>0</c:v>
                </c:pt>
                <c:pt idx="36">
                  <c:v>1.1820330969267139E-3</c:v>
                </c:pt>
                <c:pt idx="37">
                  <c:v>0</c:v>
                </c:pt>
                <c:pt idx="38">
                  <c:v>1.1820330969267139E-3</c:v>
                </c:pt>
                <c:pt idx="39">
                  <c:v>0</c:v>
                </c:pt>
                <c:pt idx="40">
                  <c:v>7.0339976553341153E-3</c:v>
                </c:pt>
                <c:pt idx="41">
                  <c:v>4.6893317702227429E-3</c:v>
                </c:pt>
                <c:pt idx="42">
                  <c:v>1.1723329425556857E-3</c:v>
                </c:pt>
                <c:pt idx="43">
                  <c:v>0.65650644783118406</c:v>
                </c:pt>
                <c:pt idx="44">
                  <c:v>0.123094958968347</c:v>
                </c:pt>
                <c:pt idx="45">
                  <c:v>8.792497069167643E-2</c:v>
                </c:pt>
                <c:pt idx="46">
                  <c:v>3.8686987104337635E-2</c:v>
                </c:pt>
                <c:pt idx="47">
                  <c:v>3.048065650644783E-2</c:v>
                </c:pt>
                <c:pt idx="48">
                  <c:v>2.5791324736225089E-2</c:v>
                </c:pt>
                <c:pt idx="49">
                  <c:v>1.0550996483001172E-2</c:v>
                </c:pt>
                <c:pt idx="50">
                  <c:v>8.2063305978898014E-3</c:v>
                </c:pt>
                <c:pt idx="51">
                  <c:v>0</c:v>
                </c:pt>
                <c:pt idx="52">
                  <c:v>1.1723329425556857E-3</c:v>
                </c:pt>
                <c:pt idx="53">
                  <c:v>2.3446658851113715E-3</c:v>
                </c:pt>
                <c:pt idx="54">
                  <c:v>1.1723329425556857E-3</c:v>
                </c:pt>
                <c:pt idx="55">
                  <c:v>0</c:v>
                </c:pt>
                <c:pt idx="56">
                  <c:v>1.1723329425556857E-3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7.1343638525564806E-3</c:v>
                </c:pt>
                <c:pt idx="61">
                  <c:v>3.5671819262782403E-3</c:v>
                </c:pt>
                <c:pt idx="62">
                  <c:v>1.1890606420927466E-3</c:v>
                </c:pt>
                <c:pt idx="63">
                  <c:v>0.6504161712247325</c:v>
                </c:pt>
                <c:pt idx="64">
                  <c:v>0.12604042806183116</c:v>
                </c:pt>
                <c:pt idx="65">
                  <c:v>8.0856123662306781E-2</c:v>
                </c:pt>
                <c:pt idx="66">
                  <c:v>4.2806183115338882E-2</c:v>
                </c:pt>
                <c:pt idx="67">
                  <c:v>3.2104637336504163E-2</c:v>
                </c:pt>
                <c:pt idx="68">
                  <c:v>2.9726516052318668E-2</c:v>
                </c:pt>
                <c:pt idx="69">
                  <c:v>1.1890606420927468E-2</c:v>
                </c:pt>
                <c:pt idx="70">
                  <c:v>7.1343638525564806E-3</c:v>
                </c:pt>
                <c:pt idx="71">
                  <c:v>1.1890606420927466E-3</c:v>
                </c:pt>
                <c:pt idx="72">
                  <c:v>1.1890606420927466E-3</c:v>
                </c:pt>
                <c:pt idx="73">
                  <c:v>2.3781212841854932E-3</c:v>
                </c:pt>
                <c:pt idx="74">
                  <c:v>1.1890606420927466E-3</c:v>
                </c:pt>
                <c:pt idx="75">
                  <c:v>0</c:v>
                </c:pt>
                <c:pt idx="76">
                  <c:v>1.1890606420927466E-3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9.4562647754137114E-3</c:v>
                </c:pt>
                <c:pt idx="81">
                  <c:v>5.9101654846335696E-3</c:v>
                </c:pt>
                <c:pt idx="82">
                  <c:v>2.3640661938534278E-3</c:v>
                </c:pt>
                <c:pt idx="83">
                  <c:v>0.55673758865248224</c:v>
                </c:pt>
                <c:pt idx="84">
                  <c:v>0.16666666666666666</c:v>
                </c:pt>
                <c:pt idx="85">
                  <c:v>0.10047281323877069</c:v>
                </c:pt>
                <c:pt idx="86">
                  <c:v>5.4373522458628844E-2</c:v>
                </c:pt>
                <c:pt idx="87">
                  <c:v>3.7825059101654845E-2</c:v>
                </c:pt>
                <c:pt idx="88">
                  <c:v>3.664302600472813E-2</c:v>
                </c:pt>
                <c:pt idx="89">
                  <c:v>1.3002364066193853E-2</c:v>
                </c:pt>
                <c:pt idx="90">
                  <c:v>8.2742316784869974E-3</c:v>
                </c:pt>
                <c:pt idx="91">
                  <c:v>1.1820330969267139E-3</c:v>
                </c:pt>
                <c:pt idx="92">
                  <c:v>1.1820330969267139E-3</c:v>
                </c:pt>
                <c:pt idx="93">
                  <c:v>2.3640661938534278E-3</c:v>
                </c:pt>
                <c:pt idx="94">
                  <c:v>1.1820330969267139E-3</c:v>
                </c:pt>
                <c:pt idx="95">
                  <c:v>0</c:v>
                </c:pt>
                <c:pt idx="96">
                  <c:v>1.1820330969267139E-3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6.2893081761006293E-3</c:v>
                </c:pt>
                <c:pt idx="101">
                  <c:v>5.2410901467505244E-3</c:v>
                </c:pt>
                <c:pt idx="102">
                  <c:v>2.0964360587002098E-3</c:v>
                </c:pt>
                <c:pt idx="103">
                  <c:v>0.5765199161425576</c:v>
                </c:pt>
                <c:pt idx="104">
                  <c:v>0.16876310272536688</c:v>
                </c:pt>
                <c:pt idx="105">
                  <c:v>9.9580712788259959E-2</c:v>
                </c:pt>
                <c:pt idx="106">
                  <c:v>5.0314465408805034E-2</c:v>
                </c:pt>
                <c:pt idx="107">
                  <c:v>3.1446540880503145E-2</c:v>
                </c:pt>
                <c:pt idx="108">
                  <c:v>3.2494758909853247E-2</c:v>
                </c:pt>
                <c:pt idx="109">
                  <c:v>1.0482180293501049E-2</c:v>
                </c:pt>
                <c:pt idx="110">
                  <c:v>9.433962264150943E-3</c:v>
                </c:pt>
                <c:pt idx="111">
                  <c:v>1.0482180293501049E-3</c:v>
                </c:pt>
                <c:pt idx="112">
                  <c:v>1.0482180293501049E-3</c:v>
                </c:pt>
                <c:pt idx="113">
                  <c:v>2.0964360587002098E-3</c:v>
                </c:pt>
                <c:pt idx="114">
                  <c:v>1.0482180293501049E-3</c:v>
                </c:pt>
                <c:pt idx="115">
                  <c:v>0</c:v>
                </c:pt>
                <c:pt idx="116">
                  <c:v>1.0482180293501049E-3</c:v>
                </c:pt>
                <c:pt idx="117">
                  <c:v>0</c:v>
                </c:pt>
                <c:pt idx="118">
                  <c:v>0</c:v>
                </c:pt>
                <c:pt idx="119">
                  <c:v>0</c:v>
                </c:pt>
                <c:pt idx="120">
                  <c:v>1.0121457489878543E-2</c:v>
                </c:pt>
                <c:pt idx="121">
                  <c:v>7.0850202429149798E-3</c:v>
                </c:pt>
                <c:pt idx="122">
                  <c:v>2.0242914979757085E-3</c:v>
                </c:pt>
                <c:pt idx="123">
                  <c:v>0.5748987854251012</c:v>
                </c:pt>
                <c:pt idx="124">
                  <c:v>0.16902834008097167</c:v>
                </c:pt>
                <c:pt idx="125">
                  <c:v>0.10526315789473684</c:v>
                </c:pt>
                <c:pt idx="126">
                  <c:v>4.5546558704453441E-2</c:v>
                </c:pt>
                <c:pt idx="127">
                  <c:v>2.7327935222672066E-2</c:v>
                </c:pt>
                <c:pt idx="128">
                  <c:v>3.137651821862348E-2</c:v>
                </c:pt>
                <c:pt idx="129">
                  <c:v>1.1133603238866396E-2</c:v>
                </c:pt>
                <c:pt idx="130">
                  <c:v>9.1093117408906875E-3</c:v>
                </c:pt>
                <c:pt idx="131">
                  <c:v>1.0121457489878543E-3</c:v>
                </c:pt>
                <c:pt idx="132">
                  <c:v>1.0121457489878543E-3</c:v>
                </c:pt>
                <c:pt idx="133">
                  <c:v>2.0242914979757085E-3</c:v>
                </c:pt>
                <c:pt idx="134">
                  <c:v>1.0121457489878543E-3</c:v>
                </c:pt>
                <c:pt idx="135">
                  <c:v>0</c:v>
                </c:pt>
                <c:pt idx="136">
                  <c:v>1.0121457489878543E-3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0">
                  <c:v>1.079913606911447E-2</c:v>
                </c:pt>
                <c:pt idx="141">
                  <c:v>5.3995680345572351E-3</c:v>
                </c:pt>
                <c:pt idx="142">
                  <c:v>1.0799136069114472E-3</c:v>
                </c:pt>
                <c:pt idx="143">
                  <c:v>0.74406047516198703</c:v>
                </c:pt>
                <c:pt idx="144">
                  <c:v>6.8034557235421164E-2</c:v>
                </c:pt>
                <c:pt idx="145">
                  <c:v>4.9676025917926567E-2</c:v>
                </c:pt>
                <c:pt idx="146">
                  <c:v>3.4557235421166309E-2</c:v>
                </c:pt>
                <c:pt idx="147">
                  <c:v>2.8077753779697623E-2</c:v>
                </c:pt>
                <c:pt idx="148">
                  <c:v>3.0237580993520519E-2</c:v>
                </c:pt>
                <c:pt idx="149">
                  <c:v>1.1879049676025918E-2</c:v>
                </c:pt>
                <c:pt idx="150">
                  <c:v>8.6393088552915772E-3</c:v>
                </c:pt>
                <c:pt idx="151">
                  <c:v>1.0799136069114472E-3</c:v>
                </c:pt>
                <c:pt idx="152">
                  <c:v>1.0799136069114472E-3</c:v>
                </c:pt>
                <c:pt idx="153">
                  <c:v>2.1598272138228943E-3</c:v>
                </c:pt>
                <c:pt idx="154">
                  <c:v>1.0799136069114472E-3</c:v>
                </c:pt>
                <c:pt idx="155">
                  <c:v>0</c:v>
                </c:pt>
                <c:pt idx="156">
                  <c:v>1.0799136069114472E-3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1.1574074074074073E-2</c:v>
                </c:pt>
                <c:pt idx="161">
                  <c:v>5.7870370370370367E-3</c:v>
                </c:pt>
                <c:pt idx="162">
                  <c:v>1.1574074074074073E-3</c:v>
                </c:pt>
                <c:pt idx="163">
                  <c:v>0.72453703703703709</c:v>
                </c:pt>
                <c:pt idx="164">
                  <c:v>7.1759259259259259E-2</c:v>
                </c:pt>
                <c:pt idx="165">
                  <c:v>5.3240740740740741E-2</c:v>
                </c:pt>
                <c:pt idx="166">
                  <c:v>3.8194444444444448E-2</c:v>
                </c:pt>
                <c:pt idx="167">
                  <c:v>3.2407407407407406E-2</c:v>
                </c:pt>
                <c:pt idx="168">
                  <c:v>3.2407407407407406E-2</c:v>
                </c:pt>
                <c:pt idx="169">
                  <c:v>1.1574074074074073E-2</c:v>
                </c:pt>
                <c:pt idx="170">
                  <c:v>9.2592592592592587E-3</c:v>
                </c:pt>
                <c:pt idx="171">
                  <c:v>1.1574074074074073E-3</c:v>
                </c:pt>
                <c:pt idx="172">
                  <c:v>1.1574074074074073E-3</c:v>
                </c:pt>
                <c:pt idx="173">
                  <c:v>2.3148148148148147E-3</c:v>
                </c:pt>
                <c:pt idx="174">
                  <c:v>1.1574074074074073E-3</c:v>
                </c:pt>
                <c:pt idx="175">
                  <c:v>0</c:v>
                </c:pt>
                <c:pt idx="176">
                  <c:v>1.1574074074074073E-3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1.0172939979654121E-2</c:v>
                </c:pt>
                <c:pt idx="181">
                  <c:v>5.0864699898270603E-3</c:v>
                </c:pt>
                <c:pt idx="182">
                  <c:v>1.017293997965412E-3</c:v>
                </c:pt>
                <c:pt idx="183">
                  <c:v>0.57884028484231942</c:v>
                </c:pt>
                <c:pt idx="184">
                  <c:v>0.17192268565615462</c:v>
                </c:pt>
                <c:pt idx="185">
                  <c:v>9.8677517802644971E-2</c:v>
                </c:pt>
                <c:pt idx="186">
                  <c:v>4.6795523906408953E-2</c:v>
                </c:pt>
                <c:pt idx="187">
                  <c:v>3.1536113936927769E-2</c:v>
                </c:pt>
                <c:pt idx="188">
                  <c:v>2.9501525940996948E-2</c:v>
                </c:pt>
                <c:pt idx="189">
                  <c:v>1.0172939979654121E-2</c:v>
                </c:pt>
                <c:pt idx="190">
                  <c:v>9.1556459816887082E-3</c:v>
                </c:pt>
                <c:pt idx="191">
                  <c:v>1.017293997965412E-3</c:v>
                </c:pt>
                <c:pt idx="192">
                  <c:v>1.017293997965412E-3</c:v>
                </c:pt>
                <c:pt idx="193">
                  <c:v>2.0345879959308239E-3</c:v>
                </c:pt>
                <c:pt idx="194">
                  <c:v>1.017293997965412E-3</c:v>
                </c:pt>
                <c:pt idx="195">
                  <c:v>0</c:v>
                </c:pt>
                <c:pt idx="196">
                  <c:v>1.017293997965412E-3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9.9601593625498006E-3</c:v>
                </c:pt>
                <c:pt idx="201">
                  <c:v>4.9800796812749003E-3</c:v>
                </c:pt>
                <c:pt idx="202">
                  <c:v>1.9920318725099601E-3</c:v>
                </c:pt>
                <c:pt idx="203">
                  <c:v>0.58067729083665343</c:v>
                </c:pt>
                <c:pt idx="204">
                  <c:v>0.1752988047808765</c:v>
                </c:pt>
                <c:pt idx="205">
                  <c:v>0.10159362549800798</c:v>
                </c:pt>
                <c:pt idx="206">
                  <c:v>4.4820717131474105E-2</c:v>
                </c:pt>
                <c:pt idx="207">
                  <c:v>2.7888446215139442E-2</c:v>
                </c:pt>
                <c:pt idx="208">
                  <c:v>2.9880478087649404E-2</c:v>
                </c:pt>
                <c:pt idx="209">
                  <c:v>7.9681274900398405E-3</c:v>
                </c:pt>
                <c:pt idx="210">
                  <c:v>7.9681274900398405E-3</c:v>
                </c:pt>
                <c:pt idx="211">
                  <c:v>9.9601593625498006E-4</c:v>
                </c:pt>
                <c:pt idx="212">
                  <c:v>9.9601593625498006E-4</c:v>
                </c:pt>
                <c:pt idx="213">
                  <c:v>1.9920318725099601E-3</c:v>
                </c:pt>
                <c:pt idx="214">
                  <c:v>9.9601593625498006E-4</c:v>
                </c:pt>
                <c:pt idx="215">
                  <c:v>0</c:v>
                </c:pt>
                <c:pt idx="216">
                  <c:v>9.9601593625498006E-4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1.1190233977619531E-2</c:v>
                </c:pt>
                <c:pt idx="221">
                  <c:v>5.0864699898270603E-3</c:v>
                </c:pt>
                <c:pt idx="222">
                  <c:v>2.0345879959308239E-3</c:v>
                </c:pt>
                <c:pt idx="223">
                  <c:v>0.57578840284842314</c:v>
                </c:pt>
                <c:pt idx="224">
                  <c:v>0.17395727365208546</c:v>
                </c:pt>
                <c:pt idx="225">
                  <c:v>0.10579857578840285</c:v>
                </c:pt>
                <c:pt idx="226">
                  <c:v>4.4760935910478125E-2</c:v>
                </c:pt>
                <c:pt idx="227">
                  <c:v>2.6449643947100712E-2</c:v>
                </c:pt>
                <c:pt idx="228">
                  <c:v>2.7466937945066123E-2</c:v>
                </c:pt>
                <c:pt idx="229">
                  <c:v>1.1190233977619531E-2</c:v>
                </c:pt>
                <c:pt idx="230">
                  <c:v>8.1383519837232958E-3</c:v>
                </c:pt>
                <c:pt idx="231">
                  <c:v>1.017293997965412E-3</c:v>
                </c:pt>
                <c:pt idx="232">
                  <c:v>1.017293997965412E-3</c:v>
                </c:pt>
                <c:pt idx="233">
                  <c:v>2.0345879959308239E-3</c:v>
                </c:pt>
                <c:pt idx="234">
                  <c:v>1.017293997965412E-3</c:v>
                </c:pt>
                <c:pt idx="235">
                  <c:v>0</c:v>
                </c:pt>
                <c:pt idx="236">
                  <c:v>1.017293997965412E-3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0-1086-4B4C-BFB8-425DBE1CBA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20"/>
        <c:showNegBubbles val="0"/>
        <c:axId val="1658987535"/>
        <c:axId val="1658988015"/>
      </c:bubbleChart>
      <c:valAx>
        <c:axId val="1658987535"/>
        <c:scaling>
          <c:orientation val="minMax"/>
          <c:max val="13"/>
          <c:min val="0"/>
        </c:scaling>
        <c:delete val="1"/>
        <c:axPos val="b"/>
        <c:numFmt formatCode="General" sourceLinked="1"/>
        <c:majorTickMark val="none"/>
        <c:minorTickMark val="none"/>
        <c:tickLblPos val="nextTo"/>
        <c:crossAx val="1658988015"/>
        <c:crosses val="autoZero"/>
        <c:crossBetween val="midCat"/>
      </c:valAx>
      <c:valAx>
        <c:axId val="16589880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FR" b="1"/>
                  <a:t>Prix /L avant impot</a:t>
                </a:r>
              </a:p>
            </c:rich>
          </c:tx>
          <c:layout>
            <c:manualLayout>
              <c:xMode val="edge"/>
              <c:yMode val="edge"/>
              <c:x val="2.7594202697018263E-3"/>
              <c:y val="0.3049822241971704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#,##0&quot;€&quot;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658987535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/>
      </a:pPr>
      <a:endParaRPr lang="fr-FR"/>
    </a:p>
  </c:txPr>
  <c:externalData r:id="rId3">
    <c:autoUpdate val="1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2403286317403983E-2"/>
          <c:y val="3.4310766844797315E-2"/>
          <c:w val="0.8498689629352304"/>
          <c:h val="0.740812487499587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D0 - Promotions'!$CR$5</c:f>
              <c:strCache>
                <c:ptCount val="1"/>
                <c:pt idx="0">
                  <c:v>Promo %</c:v>
                </c:pt>
              </c:strCache>
            </c:strRef>
          </c:tx>
          <c:spPr>
            <a:solidFill>
              <a:srgbClr val="868A96">
                <a:alpha val="20000"/>
              </a:srgbClr>
            </a:solidFill>
            <a:ln>
              <a:noFill/>
            </a:ln>
            <a:effectLst/>
          </c:spPr>
          <c:invertIfNegative val="0"/>
          <c:dLbls>
            <c:numFmt formatCode="0%;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D0 - Promotions'!$CQ$6:$CQ$17</c:f>
              <c:numCache>
                <c:formatCode>General</c:formatCode>
                <c:ptCount val="12"/>
                <c:pt idx="0">
                  <c:v>20250616</c:v>
                </c:pt>
                <c:pt idx="1">
                  <c:v>20250623</c:v>
                </c:pt>
                <c:pt idx="2">
                  <c:v>20250630</c:v>
                </c:pt>
                <c:pt idx="3">
                  <c:v>20250707</c:v>
                </c:pt>
                <c:pt idx="4">
                  <c:v>20250714</c:v>
                </c:pt>
                <c:pt idx="5">
                  <c:v>20250721</c:v>
                </c:pt>
                <c:pt idx="6">
                  <c:v>20250728</c:v>
                </c:pt>
                <c:pt idx="7">
                  <c:v>20250804</c:v>
                </c:pt>
                <c:pt idx="8">
                  <c:v>20250811</c:v>
                </c:pt>
                <c:pt idx="9">
                  <c:v>20250818</c:v>
                </c:pt>
                <c:pt idx="10">
                  <c:v>20250825</c:v>
                </c:pt>
                <c:pt idx="11">
                  <c:v>20250901</c:v>
                </c:pt>
              </c:numCache>
            </c:numRef>
          </c:cat>
          <c:val>
            <c:numRef>
              <c:f>'D0 - Promotions'!$CR$6:$CR$17</c:f>
              <c:numCache>
                <c:formatCode>0%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.82222222222222219</c:v>
                </c:pt>
                <c:pt idx="4">
                  <c:v>0.75862068965517238</c:v>
                </c:pt>
                <c:pt idx="5">
                  <c:v>0.19230769230769232</c:v>
                </c:pt>
                <c:pt idx="6">
                  <c:v>0.36363636363636365</c:v>
                </c:pt>
                <c:pt idx="7">
                  <c:v>0.2982456140350877</c:v>
                </c:pt>
                <c:pt idx="8">
                  <c:v>0.32038834951456313</c:v>
                </c:pt>
                <c:pt idx="9">
                  <c:v>0.11764705882352941</c:v>
                </c:pt>
                <c:pt idx="10">
                  <c:v>0.18478260869565216</c:v>
                </c:pt>
                <c:pt idx="1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9EA-4AE6-8901-A1FCBEE730F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-27"/>
        <c:axId val="1543007695"/>
        <c:axId val="1543015375"/>
      </c:barChart>
      <c:catAx>
        <c:axId val="154300769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543015375"/>
        <c:crosses val="autoZero"/>
        <c:auto val="1"/>
        <c:lblAlgn val="ctr"/>
        <c:lblOffset val="100"/>
        <c:noMultiLvlLbl val="0"/>
      </c:catAx>
      <c:valAx>
        <c:axId val="1543015375"/>
        <c:scaling>
          <c:orientation val="minMax"/>
          <c:max val="1"/>
          <c:min val="0"/>
        </c:scaling>
        <c:delete val="1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FR" b="1" dirty="0"/>
                  <a:t>Part</a:t>
                </a:r>
                <a:r>
                  <a:rPr lang="fr-FR" b="1" baseline="0" dirty="0"/>
                  <a:t> des magasins adressés en promotion</a:t>
                </a:r>
                <a:endParaRPr lang="fr-FR" b="1" dirty="0"/>
              </a:p>
            </c:rich>
          </c:tx>
          <c:layout>
            <c:manualLayout>
              <c:xMode val="edge"/>
              <c:yMode val="edge"/>
              <c:x val="0.96469336574297915"/>
              <c:y val="7.0872327791105402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0%" sourceLinked="1"/>
        <c:majorTickMark val="none"/>
        <c:minorTickMark val="none"/>
        <c:tickLblPos val="high"/>
        <c:crossAx val="154300769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200"/>
      </a:pPr>
      <a:endParaRPr lang="fr-FR"/>
    </a:p>
  </c:txPr>
  <c:externalData r:id="rId3">
    <c:autoUpdate val="1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ubbleChart>
        <c:varyColors val="0"/>
        <c:ser>
          <c:idx val="0"/>
          <c:order val="0"/>
          <c:tx>
            <c:strRef>
              <c:f>'D0 - Promotions'!$CM$5</c:f>
              <c:strCache>
                <c:ptCount val="1"/>
                <c:pt idx="0">
                  <c:v>Y = Prix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 w="57150">
              <a:solidFill>
                <a:schemeClr val="tx2">
                  <a:lumMod val="60000"/>
                  <a:lumOff val="40000"/>
                </a:schemeClr>
              </a:solidFill>
            </a:ln>
            <a:effectLst/>
          </c:spPr>
          <c:invertIfNegative val="0"/>
          <c:xVal>
            <c:numRef>
              <c:f>'D0 - Promotions'!$CL$6:$CL$245</c:f>
              <c:numCache>
                <c:formatCode>General</c:formatCode>
                <c:ptCount val="24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2</c:v>
                </c:pt>
                <c:pt idx="21">
                  <c:v>2</c:v>
                </c:pt>
                <c:pt idx="22">
                  <c:v>2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2</c:v>
                </c:pt>
                <c:pt idx="28">
                  <c:v>2</c:v>
                </c:pt>
                <c:pt idx="29">
                  <c:v>2</c:v>
                </c:pt>
                <c:pt idx="30">
                  <c:v>2</c:v>
                </c:pt>
                <c:pt idx="31">
                  <c:v>2</c:v>
                </c:pt>
                <c:pt idx="32">
                  <c:v>2</c:v>
                </c:pt>
                <c:pt idx="33">
                  <c:v>2</c:v>
                </c:pt>
                <c:pt idx="34">
                  <c:v>2</c:v>
                </c:pt>
                <c:pt idx="35">
                  <c:v>2</c:v>
                </c:pt>
                <c:pt idx="36">
                  <c:v>2</c:v>
                </c:pt>
                <c:pt idx="37">
                  <c:v>2</c:v>
                </c:pt>
                <c:pt idx="38">
                  <c:v>2</c:v>
                </c:pt>
                <c:pt idx="39">
                  <c:v>2</c:v>
                </c:pt>
                <c:pt idx="40">
                  <c:v>3</c:v>
                </c:pt>
                <c:pt idx="41">
                  <c:v>3</c:v>
                </c:pt>
                <c:pt idx="42">
                  <c:v>3</c:v>
                </c:pt>
                <c:pt idx="43">
                  <c:v>3</c:v>
                </c:pt>
                <c:pt idx="44">
                  <c:v>3</c:v>
                </c:pt>
                <c:pt idx="45">
                  <c:v>3</c:v>
                </c:pt>
                <c:pt idx="46">
                  <c:v>3</c:v>
                </c:pt>
                <c:pt idx="47">
                  <c:v>3</c:v>
                </c:pt>
                <c:pt idx="48">
                  <c:v>3</c:v>
                </c:pt>
                <c:pt idx="49">
                  <c:v>3</c:v>
                </c:pt>
                <c:pt idx="50">
                  <c:v>3</c:v>
                </c:pt>
                <c:pt idx="51">
                  <c:v>3</c:v>
                </c:pt>
                <c:pt idx="52">
                  <c:v>3</c:v>
                </c:pt>
                <c:pt idx="53">
                  <c:v>3</c:v>
                </c:pt>
                <c:pt idx="54">
                  <c:v>3</c:v>
                </c:pt>
                <c:pt idx="55">
                  <c:v>3</c:v>
                </c:pt>
                <c:pt idx="56">
                  <c:v>3</c:v>
                </c:pt>
                <c:pt idx="57">
                  <c:v>3</c:v>
                </c:pt>
                <c:pt idx="58">
                  <c:v>3</c:v>
                </c:pt>
                <c:pt idx="59">
                  <c:v>3</c:v>
                </c:pt>
                <c:pt idx="60">
                  <c:v>4</c:v>
                </c:pt>
                <c:pt idx="61">
                  <c:v>4</c:v>
                </c:pt>
                <c:pt idx="62">
                  <c:v>4</c:v>
                </c:pt>
                <c:pt idx="63">
                  <c:v>4</c:v>
                </c:pt>
                <c:pt idx="64">
                  <c:v>4</c:v>
                </c:pt>
                <c:pt idx="65">
                  <c:v>4</c:v>
                </c:pt>
                <c:pt idx="66">
                  <c:v>4</c:v>
                </c:pt>
                <c:pt idx="67">
                  <c:v>4</c:v>
                </c:pt>
                <c:pt idx="68">
                  <c:v>4</c:v>
                </c:pt>
                <c:pt idx="69">
                  <c:v>4</c:v>
                </c:pt>
                <c:pt idx="70">
                  <c:v>4</c:v>
                </c:pt>
                <c:pt idx="71">
                  <c:v>4</c:v>
                </c:pt>
                <c:pt idx="72">
                  <c:v>4</c:v>
                </c:pt>
                <c:pt idx="73">
                  <c:v>4</c:v>
                </c:pt>
                <c:pt idx="74">
                  <c:v>4</c:v>
                </c:pt>
                <c:pt idx="75">
                  <c:v>4</c:v>
                </c:pt>
                <c:pt idx="76">
                  <c:v>4</c:v>
                </c:pt>
                <c:pt idx="77">
                  <c:v>4</c:v>
                </c:pt>
                <c:pt idx="78">
                  <c:v>4</c:v>
                </c:pt>
                <c:pt idx="79">
                  <c:v>4</c:v>
                </c:pt>
                <c:pt idx="80">
                  <c:v>5</c:v>
                </c:pt>
                <c:pt idx="81">
                  <c:v>5</c:v>
                </c:pt>
                <c:pt idx="82">
                  <c:v>5</c:v>
                </c:pt>
                <c:pt idx="83">
                  <c:v>5</c:v>
                </c:pt>
                <c:pt idx="84">
                  <c:v>5</c:v>
                </c:pt>
                <c:pt idx="85">
                  <c:v>5</c:v>
                </c:pt>
                <c:pt idx="86">
                  <c:v>5</c:v>
                </c:pt>
                <c:pt idx="87">
                  <c:v>5</c:v>
                </c:pt>
                <c:pt idx="88">
                  <c:v>5</c:v>
                </c:pt>
                <c:pt idx="89">
                  <c:v>5</c:v>
                </c:pt>
                <c:pt idx="90">
                  <c:v>5</c:v>
                </c:pt>
                <c:pt idx="91">
                  <c:v>5</c:v>
                </c:pt>
                <c:pt idx="92">
                  <c:v>5</c:v>
                </c:pt>
                <c:pt idx="93">
                  <c:v>5</c:v>
                </c:pt>
                <c:pt idx="94">
                  <c:v>5</c:v>
                </c:pt>
                <c:pt idx="95">
                  <c:v>5</c:v>
                </c:pt>
                <c:pt idx="96">
                  <c:v>5</c:v>
                </c:pt>
                <c:pt idx="97">
                  <c:v>5</c:v>
                </c:pt>
                <c:pt idx="98">
                  <c:v>5</c:v>
                </c:pt>
                <c:pt idx="99">
                  <c:v>5</c:v>
                </c:pt>
                <c:pt idx="100">
                  <c:v>6</c:v>
                </c:pt>
                <c:pt idx="101">
                  <c:v>6</c:v>
                </c:pt>
                <c:pt idx="102">
                  <c:v>6</c:v>
                </c:pt>
                <c:pt idx="103">
                  <c:v>6</c:v>
                </c:pt>
                <c:pt idx="104">
                  <c:v>6</c:v>
                </c:pt>
                <c:pt idx="105">
                  <c:v>6</c:v>
                </c:pt>
                <c:pt idx="106">
                  <c:v>6</c:v>
                </c:pt>
                <c:pt idx="107">
                  <c:v>6</c:v>
                </c:pt>
                <c:pt idx="108">
                  <c:v>6</c:v>
                </c:pt>
                <c:pt idx="109">
                  <c:v>6</c:v>
                </c:pt>
                <c:pt idx="110">
                  <c:v>6</c:v>
                </c:pt>
                <c:pt idx="111">
                  <c:v>6</c:v>
                </c:pt>
                <c:pt idx="112">
                  <c:v>6</c:v>
                </c:pt>
                <c:pt idx="113">
                  <c:v>6</c:v>
                </c:pt>
                <c:pt idx="114">
                  <c:v>6</c:v>
                </c:pt>
                <c:pt idx="115">
                  <c:v>6</c:v>
                </c:pt>
                <c:pt idx="116">
                  <c:v>6</c:v>
                </c:pt>
                <c:pt idx="117">
                  <c:v>6</c:v>
                </c:pt>
                <c:pt idx="118">
                  <c:v>6</c:v>
                </c:pt>
                <c:pt idx="119">
                  <c:v>6</c:v>
                </c:pt>
                <c:pt idx="120">
                  <c:v>7</c:v>
                </c:pt>
                <c:pt idx="121">
                  <c:v>7</c:v>
                </c:pt>
                <c:pt idx="122">
                  <c:v>7</c:v>
                </c:pt>
                <c:pt idx="123">
                  <c:v>7</c:v>
                </c:pt>
                <c:pt idx="124">
                  <c:v>7</c:v>
                </c:pt>
                <c:pt idx="125">
                  <c:v>7</c:v>
                </c:pt>
                <c:pt idx="126">
                  <c:v>7</c:v>
                </c:pt>
                <c:pt idx="127">
                  <c:v>7</c:v>
                </c:pt>
                <c:pt idx="128">
                  <c:v>7</c:v>
                </c:pt>
                <c:pt idx="129">
                  <c:v>7</c:v>
                </c:pt>
                <c:pt idx="130">
                  <c:v>7</c:v>
                </c:pt>
                <c:pt idx="131">
                  <c:v>7</c:v>
                </c:pt>
                <c:pt idx="132">
                  <c:v>7</c:v>
                </c:pt>
                <c:pt idx="133">
                  <c:v>7</c:v>
                </c:pt>
                <c:pt idx="134">
                  <c:v>7</c:v>
                </c:pt>
                <c:pt idx="135">
                  <c:v>7</c:v>
                </c:pt>
                <c:pt idx="136">
                  <c:v>7</c:v>
                </c:pt>
                <c:pt idx="137">
                  <c:v>7</c:v>
                </c:pt>
                <c:pt idx="138">
                  <c:v>7</c:v>
                </c:pt>
                <c:pt idx="139">
                  <c:v>7</c:v>
                </c:pt>
                <c:pt idx="140">
                  <c:v>8</c:v>
                </c:pt>
                <c:pt idx="141">
                  <c:v>8</c:v>
                </c:pt>
                <c:pt idx="142">
                  <c:v>8</c:v>
                </c:pt>
                <c:pt idx="143">
                  <c:v>8</c:v>
                </c:pt>
                <c:pt idx="144">
                  <c:v>8</c:v>
                </c:pt>
                <c:pt idx="145">
                  <c:v>8</c:v>
                </c:pt>
                <c:pt idx="146">
                  <c:v>8</c:v>
                </c:pt>
                <c:pt idx="147">
                  <c:v>8</c:v>
                </c:pt>
                <c:pt idx="148">
                  <c:v>8</c:v>
                </c:pt>
                <c:pt idx="149">
                  <c:v>8</c:v>
                </c:pt>
                <c:pt idx="150">
                  <c:v>8</c:v>
                </c:pt>
                <c:pt idx="151">
                  <c:v>8</c:v>
                </c:pt>
                <c:pt idx="152">
                  <c:v>8</c:v>
                </c:pt>
                <c:pt idx="153">
                  <c:v>8</c:v>
                </c:pt>
                <c:pt idx="154">
                  <c:v>8</c:v>
                </c:pt>
                <c:pt idx="155">
                  <c:v>8</c:v>
                </c:pt>
                <c:pt idx="156">
                  <c:v>8</c:v>
                </c:pt>
                <c:pt idx="157">
                  <c:v>8</c:v>
                </c:pt>
                <c:pt idx="158">
                  <c:v>8</c:v>
                </c:pt>
                <c:pt idx="159">
                  <c:v>8</c:v>
                </c:pt>
                <c:pt idx="160">
                  <c:v>9</c:v>
                </c:pt>
                <c:pt idx="161">
                  <c:v>9</c:v>
                </c:pt>
                <c:pt idx="162">
                  <c:v>9</c:v>
                </c:pt>
                <c:pt idx="163">
                  <c:v>9</c:v>
                </c:pt>
                <c:pt idx="164">
                  <c:v>9</c:v>
                </c:pt>
                <c:pt idx="165">
                  <c:v>9</c:v>
                </c:pt>
                <c:pt idx="166">
                  <c:v>9</c:v>
                </c:pt>
                <c:pt idx="167">
                  <c:v>9</c:v>
                </c:pt>
                <c:pt idx="168">
                  <c:v>9</c:v>
                </c:pt>
                <c:pt idx="169">
                  <c:v>9</c:v>
                </c:pt>
                <c:pt idx="170">
                  <c:v>9</c:v>
                </c:pt>
                <c:pt idx="171">
                  <c:v>9</c:v>
                </c:pt>
                <c:pt idx="172">
                  <c:v>9</c:v>
                </c:pt>
                <c:pt idx="173">
                  <c:v>9</c:v>
                </c:pt>
                <c:pt idx="174">
                  <c:v>9</c:v>
                </c:pt>
                <c:pt idx="175">
                  <c:v>9</c:v>
                </c:pt>
                <c:pt idx="176">
                  <c:v>9</c:v>
                </c:pt>
                <c:pt idx="177">
                  <c:v>9</c:v>
                </c:pt>
                <c:pt idx="178">
                  <c:v>9</c:v>
                </c:pt>
                <c:pt idx="179">
                  <c:v>9</c:v>
                </c:pt>
                <c:pt idx="180">
                  <c:v>10</c:v>
                </c:pt>
                <c:pt idx="181">
                  <c:v>10</c:v>
                </c:pt>
                <c:pt idx="182">
                  <c:v>10</c:v>
                </c:pt>
                <c:pt idx="183">
                  <c:v>10</c:v>
                </c:pt>
                <c:pt idx="184">
                  <c:v>10</c:v>
                </c:pt>
                <c:pt idx="185">
                  <c:v>10</c:v>
                </c:pt>
                <c:pt idx="186">
                  <c:v>10</c:v>
                </c:pt>
                <c:pt idx="187">
                  <c:v>10</c:v>
                </c:pt>
                <c:pt idx="188">
                  <c:v>10</c:v>
                </c:pt>
                <c:pt idx="189">
                  <c:v>10</c:v>
                </c:pt>
                <c:pt idx="190">
                  <c:v>10</c:v>
                </c:pt>
                <c:pt idx="191">
                  <c:v>10</c:v>
                </c:pt>
                <c:pt idx="192">
                  <c:v>10</c:v>
                </c:pt>
                <c:pt idx="193">
                  <c:v>10</c:v>
                </c:pt>
                <c:pt idx="194">
                  <c:v>10</c:v>
                </c:pt>
                <c:pt idx="195">
                  <c:v>10</c:v>
                </c:pt>
                <c:pt idx="196">
                  <c:v>10</c:v>
                </c:pt>
                <c:pt idx="197">
                  <c:v>10</c:v>
                </c:pt>
                <c:pt idx="198">
                  <c:v>10</c:v>
                </c:pt>
                <c:pt idx="199">
                  <c:v>10</c:v>
                </c:pt>
                <c:pt idx="200">
                  <c:v>11</c:v>
                </c:pt>
                <c:pt idx="201">
                  <c:v>11</c:v>
                </c:pt>
                <c:pt idx="202">
                  <c:v>11</c:v>
                </c:pt>
                <c:pt idx="203">
                  <c:v>11</c:v>
                </c:pt>
                <c:pt idx="204">
                  <c:v>11</c:v>
                </c:pt>
                <c:pt idx="205">
                  <c:v>11</c:v>
                </c:pt>
                <c:pt idx="206">
                  <c:v>11</c:v>
                </c:pt>
                <c:pt idx="207">
                  <c:v>11</c:v>
                </c:pt>
                <c:pt idx="208">
                  <c:v>11</c:v>
                </c:pt>
                <c:pt idx="209">
                  <c:v>11</c:v>
                </c:pt>
                <c:pt idx="210">
                  <c:v>11</c:v>
                </c:pt>
                <c:pt idx="211">
                  <c:v>11</c:v>
                </c:pt>
                <c:pt idx="212">
                  <c:v>11</c:v>
                </c:pt>
                <c:pt idx="213">
                  <c:v>11</c:v>
                </c:pt>
                <c:pt idx="214">
                  <c:v>11</c:v>
                </c:pt>
                <c:pt idx="215">
                  <c:v>11</c:v>
                </c:pt>
                <c:pt idx="216">
                  <c:v>11</c:v>
                </c:pt>
                <c:pt idx="217">
                  <c:v>11</c:v>
                </c:pt>
                <c:pt idx="218">
                  <c:v>11</c:v>
                </c:pt>
                <c:pt idx="219">
                  <c:v>11</c:v>
                </c:pt>
                <c:pt idx="220">
                  <c:v>12</c:v>
                </c:pt>
                <c:pt idx="221">
                  <c:v>12</c:v>
                </c:pt>
                <c:pt idx="222">
                  <c:v>12</c:v>
                </c:pt>
                <c:pt idx="223">
                  <c:v>12</c:v>
                </c:pt>
                <c:pt idx="224">
                  <c:v>12</c:v>
                </c:pt>
                <c:pt idx="225">
                  <c:v>12</c:v>
                </c:pt>
                <c:pt idx="226">
                  <c:v>12</c:v>
                </c:pt>
                <c:pt idx="227">
                  <c:v>12</c:v>
                </c:pt>
                <c:pt idx="228">
                  <c:v>12</c:v>
                </c:pt>
                <c:pt idx="229">
                  <c:v>12</c:v>
                </c:pt>
                <c:pt idx="230">
                  <c:v>12</c:v>
                </c:pt>
                <c:pt idx="231">
                  <c:v>12</c:v>
                </c:pt>
                <c:pt idx="232">
                  <c:v>12</c:v>
                </c:pt>
                <c:pt idx="233">
                  <c:v>12</c:v>
                </c:pt>
                <c:pt idx="234">
                  <c:v>12</c:v>
                </c:pt>
                <c:pt idx="235">
                  <c:v>12</c:v>
                </c:pt>
                <c:pt idx="236">
                  <c:v>12</c:v>
                </c:pt>
                <c:pt idx="237">
                  <c:v>12</c:v>
                </c:pt>
                <c:pt idx="238">
                  <c:v>12</c:v>
                </c:pt>
                <c:pt idx="239">
                  <c:v>12</c:v>
                </c:pt>
              </c:numCache>
            </c:numRef>
          </c:xVal>
          <c:yVal>
            <c:numRef>
              <c:f>'D0 - Promotions'!$CM$6:$CM$245</c:f>
              <c:numCache>
                <c:formatCode>General</c:formatCode>
                <c:ptCount val="240"/>
                <c:pt idx="0" formatCode="&quot;€&quot;#,##0.00_);[Red]\(&quot;€&quot;#,##0.00\)">
                  <c:v>25.65</c:v>
                </c:pt>
                <c:pt idx="1">
                  <c:v>26.3</c:v>
                </c:pt>
                <c:pt idx="2">
                  <c:v>26.95</c:v>
                </c:pt>
                <c:pt idx="3">
                  <c:v>27.6</c:v>
                </c:pt>
                <c:pt idx="4">
                  <c:v>28.25</c:v>
                </c:pt>
                <c:pt idx="5">
                  <c:v>28.9</c:v>
                </c:pt>
                <c:pt idx="6">
                  <c:v>29.55</c:v>
                </c:pt>
                <c:pt idx="7">
                  <c:v>30.2</c:v>
                </c:pt>
                <c:pt idx="8">
                  <c:v>30.85</c:v>
                </c:pt>
                <c:pt idx="9">
                  <c:v>31.5</c:v>
                </c:pt>
                <c:pt idx="10">
                  <c:v>32.15</c:v>
                </c:pt>
                <c:pt idx="11">
                  <c:v>32.799999999999997</c:v>
                </c:pt>
                <c:pt idx="12">
                  <c:v>33.450000000000003</c:v>
                </c:pt>
                <c:pt idx="13">
                  <c:v>34.1</c:v>
                </c:pt>
                <c:pt idx="14">
                  <c:v>34.75</c:v>
                </c:pt>
                <c:pt idx="15">
                  <c:v>35.4</c:v>
                </c:pt>
                <c:pt idx="16">
                  <c:v>36.049999999999997</c:v>
                </c:pt>
                <c:pt idx="17">
                  <c:v>36.700000000000003</c:v>
                </c:pt>
                <c:pt idx="18">
                  <c:v>37.35</c:v>
                </c:pt>
                <c:pt idx="19">
                  <c:v>38</c:v>
                </c:pt>
                <c:pt idx="20">
                  <c:v>25.65</c:v>
                </c:pt>
                <c:pt idx="21">
                  <c:v>26.3</c:v>
                </c:pt>
                <c:pt idx="22">
                  <c:v>26.950000000000003</c:v>
                </c:pt>
                <c:pt idx="23">
                  <c:v>27.599999999999998</c:v>
                </c:pt>
                <c:pt idx="24">
                  <c:v>28.25</c:v>
                </c:pt>
                <c:pt idx="25">
                  <c:v>28.9</c:v>
                </c:pt>
                <c:pt idx="26">
                  <c:v>29.55</c:v>
                </c:pt>
                <c:pt idx="27">
                  <c:v>30.200000000000003</c:v>
                </c:pt>
                <c:pt idx="28">
                  <c:v>30.849999999999998</c:v>
                </c:pt>
                <c:pt idx="29">
                  <c:v>31.5</c:v>
                </c:pt>
                <c:pt idx="30">
                  <c:v>32.15</c:v>
                </c:pt>
                <c:pt idx="31">
                  <c:v>32.799999999999997</c:v>
                </c:pt>
                <c:pt idx="32">
                  <c:v>33.450000000000003</c:v>
                </c:pt>
                <c:pt idx="33">
                  <c:v>34.099999999999994</c:v>
                </c:pt>
                <c:pt idx="34">
                  <c:v>34.75</c:v>
                </c:pt>
                <c:pt idx="35">
                  <c:v>35.4</c:v>
                </c:pt>
                <c:pt idx="36">
                  <c:v>36.049999999999997</c:v>
                </c:pt>
                <c:pt idx="37">
                  <c:v>36.700000000000003</c:v>
                </c:pt>
                <c:pt idx="38">
                  <c:v>37.35</c:v>
                </c:pt>
                <c:pt idx="39">
                  <c:v>38</c:v>
                </c:pt>
                <c:pt idx="40">
                  <c:v>25.65</c:v>
                </c:pt>
                <c:pt idx="41">
                  <c:v>26.299999999999997</c:v>
                </c:pt>
                <c:pt idx="42">
                  <c:v>26.950000000000003</c:v>
                </c:pt>
                <c:pt idx="43">
                  <c:v>27.599999999999998</c:v>
                </c:pt>
                <c:pt idx="44">
                  <c:v>28.250000000000004</c:v>
                </c:pt>
                <c:pt idx="45">
                  <c:v>28.9</c:v>
                </c:pt>
                <c:pt idx="46">
                  <c:v>29.549999999999997</c:v>
                </c:pt>
                <c:pt idx="47">
                  <c:v>30.200000000000003</c:v>
                </c:pt>
                <c:pt idx="48">
                  <c:v>30.849999999999998</c:v>
                </c:pt>
                <c:pt idx="49">
                  <c:v>31.500000000000004</c:v>
                </c:pt>
                <c:pt idx="50">
                  <c:v>32.15</c:v>
                </c:pt>
                <c:pt idx="51">
                  <c:v>32.799999999999997</c:v>
                </c:pt>
                <c:pt idx="52">
                  <c:v>33.450000000000003</c:v>
                </c:pt>
                <c:pt idx="53">
                  <c:v>34.099999999999994</c:v>
                </c:pt>
                <c:pt idx="54">
                  <c:v>34.75</c:v>
                </c:pt>
                <c:pt idx="55">
                  <c:v>35.4</c:v>
                </c:pt>
                <c:pt idx="56">
                  <c:v>36.049999999999997</c:v>
                </c:pt>
                <c:pt idx="57">
                  <c:v>36.700000000000003</c:v>
                </c:pt>
                <c:pt idx="58">
                  <c:v>37.35</c:v>
                </c:pt>
                <c:pt idx="59">
                  <c:v>38</c:v>
                </c:pt>
                <c:pt idx="60">
                  <c:v>25.65</c:v>
                </c:pt>
                <c:pt idx="61">
                  <c:v>26.299999999999997</c:v>
                </c:pt>
                <c:pt idx="62">
                  <c:v>26.950000000000003</c:v>
                </c:pt>
                <c:pt idx="63">
                  <c:v>27.599999999999998</c:v>
                </c:pt>
                <c:pt idx="64">
                  <c:v>28.250000000000004</c:v>
                </c:pt>
                <c:pt idx="65">
                  <c:v>28.9</c:v>
                </c:pt>
                <c:pt idx="66">
                  <c:v>29.549999999999997</c:v>
                </c:pt>
                <c:pt idx="67">
                  <c:v>30.200000000000003</c:v>
                </c:pt>
                <c:pt idx="68">
                  <c:v>30.849999999999998</c:v>
                </c:pt>
                <c:pt idx="69">
                  <c:v>31.500000000000004</c:v>
                </c:pt>
                <c:pt idx="70">
                  <c:v>32.15</c:v>
                </c:pt>
                <c:pt idx="71">
                  <c:v>32.799999999999997</c:v>
                </c:pt>
                <c:pt idx="72">
                  <c:v>33.450000000000003</c:v>
                </c:pt>
                <c:pt idx="73">
                  <c:v>34.099999999999994</c:v>
                </c:pt>
                <c:pt idx="74">
                  <c:v>34.75</c:v>
                </c:pt>
                <c:pt idx="75">
                  <c:v>35.4</c:v>
                </c:pt>
                <c:pt idx="76">
                  <c:v>36.049999999999997</c:v>
                </c:pt>
                <c:pt idx="77">
                  <c:v>36.700000000000003</c:v>
                </c:pt>
                <c:pt idx="78">
                  <c:v>37.35</c:v>
                </c:pt>
                <c:pt idx="79">
                  <c:v>38</c:v>
                </c:pt>
                <c:pt idx="80">
                  <c:v>25.65</c:v>
                </c:pt>
                <c:pt idx="81">
                  <c:v>26.299999999999997</c:v>
                </c:pt>
                <c:pt idx="82">
                  <c:v>26.949999999999996</c:v>
                </c:pt>
                <c:pt idx="83">
                  <c:v>27.600000000000005</c:v>
                </c:pt>
                <c:pt idx="84">
                  <c:v>28.250000000000004</c:v>
                </c:pt>
                <c:pt idx="85">
                  <c:v>28.9</c:v>
                </c:pt>
                <c:pt idx="86">
                  <c:v>29.549999999999997</c:v>
                </c:pt>
                <c:pt idx="87">
                  <c:v>30.199999999999996</c:v>
                </c:pt>
                <c:pt idx="88">
                  <c:v>30.850000000000005</c:v>
                </c:pt>
                <c:pt idx="89">
                  <c:v>31.500000000000004</c:v>
                </c:pt>
                <c:pt idx="90">
                  <c:v>32.15</c:v>
                </c:pt>
                <c:pt idx="91">
                  <c:v>32.799999999999997</c:v>
                </c:pt>
                <c:pt idx="92">
                  <c:v>33.449999999999996</c:v>
                </c:pt>
                <c:pt idx="93">
                  <c:v>34.100000000000009</c:v>
                </c:pt>
                <c:pt idx="94">
                  <c:v>34.75</c:v>
                </c:pt>
                <c:pt idx="95">
                  <c:v>35.4</c:v>
                </c:pt>
                <c:pt idx="96">
                  <c:v>36.049999999999997</c:v>
                </c:pt>
                <c:pt idx="97">
                  <c:v>36.699999999999996</c:v>
                </c:pt>
                <c:pt idx="98">
                  <c:v>37.350000000000009</c:v>
                </c:pt>
                <c:pt idx="99">
                  <c:v>38</c:v>
                </c:pt>
                <c:pt idx="100">
                  <c:v>25.65</c:v>
                </c:pt>
                <c:pt idx="101">
                  <c:v>26.299999999999997</c:v>
                </c:pt>
                <c:pt idx="102">
                  <c:v>26.949999999999996</c:v>
                </c:pt>
                <c:pt idx="103">
                  <c:v>27.600000000000005</c:v>
                </c:pt>
                <c:pt idx="104">
                  <c:v>28.250000000000004</c:v>
                </c:pt>
                <c:pt idx="105">
                  <c:v>28.9</c:v>
                </c:pt>
                <c:pt idx="106">
                  <c:v>29.549999999999997</c:v>
                </c:pt>
                <c:pt idx="107">
                  <c:v>30.199999999999996</c:v>
                </c:pt>
                <c:pt idx="108">
                  <c:v>30.850000000000005</c:v>
                </c:pt>
                <c:pt idx="109">
                  <c:v>31.500000000000004</c:v>
                </c:pt>
                <c:pt idx="110">
                  <c:v>32.15</c:v>
                </c:pt>
                <c:pt idx="111">
                  <c:v>32.799999999999997</c:v>
                </c:pt>
                <c:pt idx="112">
                  <c:v>33.449999999999996</c:v>
                </c:pt>
                <c:pt idx="113">
                  <c:v>34.100000000000009</c:v>
                </c:pt>
                <c:pt idx="114">
                  <c:v>34.75</c:v>
                </c:pt>
                <c:pt idx="115">
                  <c:v>35.4</c:v>
                </c:pt>
                <c:pt idx="116">
                  <c:v>36.049999999999997</c:v>
                </c:pt>
                <c:pt idx="117">
                  <c:v>36.699999999999996</c:v>
                </c:pt>
                <c:pt idx="118">
                  <c:v>37.350000000000009</c:v>
                </c:pt>
                <c:pt idx="119">
                  <c:v>38</c:v>
                </c:pt>
                <c:pt idx="120">
                  <c:v>25.65</c:v>
                </c:pt>
                <c:pt idx="121">
                  <c:v>26.299999999999997</c:v>
                </c:pt>
                <c:pt idx="122">
                  <c:v>26.949999999999996</c:v>
                </c:pt>
                <c:pt idx="123">
                  <c:v>27.600000000000005</c:v>
                </c:pt>
                <c:pt idx="124">
                  <c:v>28.250000000000004</c:v>
                </c:pt>
                <c:pt idx="125">
                  <c:v>28.9</c:v>
                </c:pt>
                <c:pt idx="126">
                  <c:v>29.549999999999997</c:v>
                </c:pt>
                <c:pt idx="127">
                  <c:v>30.199999999999996</c:v>
                </c:pt>
                <c:pt idx="128">
                  <c:v>30.850000000000005</c:v>
                </c:pt>
                <c:pt idx="129">
                  <c:v>31.500000000000004</c:v>
                </c:pt>
                <c:pt idx="130">
                  <c:v>32.15</c:v>
                </c:pt>
                <c:pt idx="131">
                  <c:v>32.799999999999997</c:v>
                </c:pt>
                <c:pt idx="132">
                  <c:v>33.449999999999996</c:v>
                </c:pt>
                <c:pt idx="133">
                  <c:v>34.100000000000009</c:v>
                </c:pt>
                <c:pt idx="134">
                  <c:v>34.75</c:v>
                </c:pt>
                <c:pt idx="135">
                  <c:v>35.4</c:v>
                </c:pt>
                <c:pt idx="136">
                  <c:v>36.049999999999997</c:v>
                </c:pt>
                <c:pt idx="137">
                  <c:v>36.699999999999996</c:v>
                </c:pt>
                <c:pt idx="138">
                  <c:v>37.350000000000009</c:v>
                </c:pt>
                <c:pt idx="139">
                  <c:v>38</c:v>
                </c:pt>
                <c:pt idx="140">
                  <c:v>25.65</c:v>
                </c:pt>
                <c:pt idx="141">
                  <c:v>26.299999999999997</c:v>
                </c:pt>
                <c:pt idx="142">
                  <c:v>26.949999999999996</c:v>
                </c:pt>
                <c:pt idx="143">
                  <c:v>27.600000000000005</c:v>
                </c:pt>
                <c:pt idx="144">
                  <c:v>28.250000000000004</c:v>
                </c:pt>
                <c:pt idx="145">
                  <c:v>28.9</c:v>
                </c:pt>
                <c:pt idx="146">
                  <c:v>29.549999999999997</c:v>
                </c:pt>
                <c:pt idx="147">
                  <c:v>30.199999999999996</c:v>
                </c:pt>
                <c:pt idx="148">
                  <c:v>30.850000000000005</c:v>
                </c:pt>
                <c:pt idx="149">
                  <c:v>31.500000000000004</c:v>
                </c:pt>
                <c:pt idx="150">
                  <c:v>32.15</c:v>
                </c:pt>
                <c:pt idx="151">
                  <c:v>32.799999999999997</c:v>
                </c:pt>
                <c:pt idx="152">
                  <c:v>33.449999999999996</c:v>
                </c:pt>
                <c:pt idx="153">
                  <c:v>34.100000000000009</c:v>
                </c:pt>
                <c:pt idx="154">
                  <c:v>34.75</c:v>
                </c:pt>
                <c:pt idx="155">
                  <c:v>35.4</c:v>
                </c:pt>
                <c:pt idx="156">
                  <c:v>36.049999999999997</c:v>
                </c:pt>
                <c:pt idx="157">
                  <c:v>36.699999999999996</c:v>
                </c:pt>
                <c:pt idx="158">
                  <c:v>37.350000000000009</c:v>
                </c:pt>
                <c:pt idx="159">
                  <c:v>38</c:v>
                </c:pt>
                <c:pt idx="160">
                  <c:v>25.65</c:v>
                </c:pt>
                <c:pt idx="161">
                  <c:v>26.300000000000008</c:v>
                </c:pt>
                <c:pt idx="162">
                  <c:v>26.949999999999996</c:v>
                </c:pt>
                <c:pt idx="163">
                  <c:v>27.600000000000005</c:v>
                </c:pt>
                <c:pt idx="164">
                  <c:v>28.249999999999989</c:v>
                </c:pt>
                <c:pt idx="165">
                  <c:v>28.9</c:v>
                </c:pt>
                <c:pt idx="166">
                  <c:v>29.550000000000011</c:v>
                </c:pt>
                <c:pt idx="167">
                  <c:v>30.199999999999996</c:v>
                </c:pt>
                <c:pt idx="168">
                  <c:v>30.850000000000005</c:v>
                </c:pt>
                <c:pt idx="169">
                  <c:v>31.499999999999993</c:v>
                </c:pt>
                <c:pt idx="170">
                  <c:v>32.15</c:v>
                </c:pt>
                <c:pt idx="171">
                  <c:v>32.800000000000011</c:v>
                </c:pt>
                <c:pt idx="172">
                  <c:v>33.449999999999996</c:v>
                </c:pt>
                <c:pt idx="173">
                  <c:v>34.100000000000009</c:v>
                </c:pt>
                <c:pt idx="174">
                  <c:v>34.749999999999993</c:v>
                </c:pt>
                <c:pt idx="175">
                  <c:v>35.4</c:v>
                </c:pt>
                <c:pt idx="176">
                  <c:v>36.050000000000011</c:v>
                </c:pt>
                <c:pt idx="177">
                  <c:v>36.699999999999996</c:v>
                </c:pt>
                <c:pt idx="178">
                  <c:v>37.350000000000009</c:v>
                </c:pt>
                <c:pt idx="179">
                  <c:v>37.999999999999993</c:v>
                </c:pt>
                <c:pt idx="180">
                  <c:v>25.65</c:v>
                </c:pt>
                <c:pt idx="181">
                  <c:v>26.300000000000008</c:v>
                </c:pt>
                <c:pt idx="182">
                  <c:v>26.949999999999996</c:v>
                </c:pt>
                <c:pt idx="183">
                  <c:v>27.600000000000005</c:v>
                </c:pt>
                <c:pt idx="184">
                  <c:v>28.249999999999989</c:v>
                </c:pt>
                <c:pt idx="185">
                  <c:v>28.9</c:v>
                </c:pt>
                <c:pt idx="186">
                  <c:v>29.550000000000011</c:v>
                </c:pt>
                <c:pt idx="187">
                  <c:v>30.199999999999996</c:v>
                </c:pt>
                <c:pt idx="188">
                  <c:v>30.850000000000005</c:v>
                </c:pt>
                <c:pt idx="189">
                  <c:v>31.499999999999993</c:v>
                </c:pt>
                <c:pt idx="190">
                  <c:v>32.15</c:v>
                </c:pt>
                <c:pt idx="191">
                  <c:v>32.800000000000011</c:v>
                </c:pt>
                <c:pt idx="192">
                  <c:v>33.449999999999996</c:v>
                </c:pt>
                <c:pt idx="193">
                  <c:v>34.100000000000009</c:v>
                </c:pt>
                <c:pt idx="194">
                  <c:v>34.749999999999993</c:v>
                </c:pt>
                <c:pt idx="195">
                  <c:v>35.4</c:v>
                </c:pt>
                <c:pt idx="196">
                  <c:v>36.050000000000011</c:v>
                </c:pt>
                <c:pt idx="197">
                  <c:v>36.699999999999996</c:v>
                </c:pt>
                <c:pt idx="198">
                  <c:v>37.350000000000009</c:v>
                </c:pt>
                <c:pt idx="199">
                  <c:v>37.999999999999993</c:v>
                </c:pt>
                <c:pt idx="200">
                  <c:v>25.65</c:v>
                </c:pt>
                <c:pt idx="201">
                  <c:v>26.300000000000008</c:v>
                </c:pt>
                <c:pt idx="202">
                  <c:v>26.949999999999996</c:v>
                </c:pt>
                <c:pt idx="203">
                  <c:v>27.600000000000005</c:v>
                </c:pt>
                <c:pt idx="204">
                  <c:v>28.249999999999989</c:v>
                </c:pt>
                <c:pt idx="205">
                  <c:v>28.9</c:v>
                </c:pt>
                <c:pt idx="206">
                  <c:v>29.550000000000011</c:v>
                </c:pt>
                <c:pt idx="207">
                  <c:v>30.199999999999996</c:v>
                </c:pt>
                <c:pt idx="208">
                  <c:v>30.850000000000005</c:v>
                </c:pt>
                <c:pt idx="209">
                  <c:v>31.499999999999993</c:v>
                </c:pt>
                <c:pt idx="210">
                  <c:v>32.15</c:v>
                </c:pt>
                <c:pt idx="211">
                  <c:v>32.800000000000011</c:v>
                </c:pt>
                <c:pt idx="212">
                  <c:v>33.449999999999996</c:v>
                </c:pt>
                <c:pt idx="213">
                  <c:v>34.100000000000009</c:v>
                </c:pt>
                <c:pt idx="214">
                  <c:v>34.749999999999993</c:v>
                </c:pt>
                <c:pt idx="215">
                  <c:v>35.4</c:v>
                </c:pt>
                <c:pt idx="216">
                  <c:v>36.050000000000011</c:v>
                </c:pt>
                <c:pt idx="217">
                  <c:v>36.699999999999996</c:v>
                </c:pt>
                <c:pt idx="218">
                  <c:v>37.350000000000009</c:v>
                </c:pt>
                <c:pt idx="219">
                  <c:v>37.999999999999993</c:v>
                </c:pt>
                <c:pt idx="220">
                  <c:v>25.65</c:v>
                </c:pt>
                <c:pt idx="221">
                  <c:v>26.300000000000008</c:v>
                </c:pt>
                <c:pt idx="222">
                  <c:v>26.949999999999996</c:v>
                </c:pt>
                <c:pt idx="223">
                  <c:v>27.600000000000005</c:v>
                </c:pt>
                <c:pt idx="224">
                  <c:v>28.249999999999989</c:v>
                </c:pt>
                <c:pt idx="225">
                  <c:v>28.9</c:v>
                </c:pt>
                <c:pt idx="226">
                  <c:v>29.550000000000011</c:v>
                </c:pt>
                <c:pt idx="227">
                  <c:v>30.199999999999996</c:v>
                </c:pt>
                <c:pt idx="228">
                  <c:v>30.850000000000005</c:v>
                </c:pt>
                <c:pt idx="229">
                  <c:v>31.499999999999993</c:v>
                </c:pt>
                <c:pt idx="230">
                  <c:v>32.15</c:v>
                </c:pt>
                <c:pt idx="231">
                  <c:v>32.800000000000011</c:v>
                </c:pt>
                <c:pt idx="232">
                  <c:v>33.449999999999996</c:v>
                </c:pt>
                <c:pt idx="233">
                  <c:v>34.100000000000009</c:v>
                </c:pt>
                <c:pt idx="234">
                  <c:v>34.749999999999993</c:v>
                </c:pt>
                <c:pt idx="235">
                  <c:v>35.4</c:v>
                </c:pt>
                <c:pt idx="236">
                  <c:v>36.050000000000011</c:v>
                </c:pt>
                <c:pt idx="237">
                  <c:v>36.699999999999996</c:v>
                </c:pt>
                <c:pt idx="238">
                  <c:v>37.350000000000009</c:v>
                </c:pt>
                <c:pt idx="239">
                  <c:v>37.999999999999993</c:v>
                </c:pt>
              </c:numCache>
            </c:numRef>
          </c:yVal>
          <c:bubbleSize>
            <c:numRef>
              <c:f>'D0 - Promotions'!$CN$6:$CN$245</c:f>
              <c:numCache>
                <c:formatCode>0%</c:formatCode>
                <c:ptCount val="240"/>
                <c:pt idx="0">
                  <c:v>8.3333333333333332E-3</c:v>
                </c:pt>
                <c:pt idx="1">
                  <c:v>4.7619047619047623E-3</c:v>
                </c:pt>
                <c:pt idx="2">
                  <c:v>1.1904761904761906E-3</c:v>
                </c:pt>
                <c:pt idx="3">
                  <c:v>0.57499999999999996</c:v>
                </c:pt>
                <c:pt idx="4">
                  <c:v>0.17142857142857143</c:v>
                </c:pt>
                <c:pt idx="5">
                  <c:v>0.10238095238095238</c:v>
                </c:pt>
                <c:pt idx="6">
                  <c:v>0.05</c:v>
                </c:pt>
                <c:pt idx="7">
                  <c:v>2.976190476190476E-2</c:v>
                </c:pt>
                <c:pt idx="8">
                  <c:v>3.3333333333333333E-2</c:v>
                </c:pt>
                <c:pt idx="9">
                  <c:v>9.5238095238095247E-3</c:v>
                </c:pt>
                <c:pt idx="10">
                  <c:v>7.1428571428571426E-3</c:v>
                </c:pt>
                <c:pt idx="11">
                  <c:v>0</c:v>
                </c:pt>
                <c:pt idx="12">
                  <c:v>1.1904761904761906E-3</c:v>
                </c:pt>
                <c:pt idx="13">
                  <c:v>2.3809523809523812E-3</c:v>
                </c:pt>
                <c:pt idx="14">
                  <c:v>1.1904761904761906E-3</c:v>
                </c:pt>
                <c:pt idx="15">
                  <c:v>0</c:v>
                </c:pt>
                <c:pt idx="16">
                  <c:v>1.1904761904761906E-3</c:v>
                </c:pt>
                <c:pt idx="17">
                  <c:v>0</c:v>
                </c:pt>
                <c:pt idx="18">
                  <c:v>1.1904761904761906E-3</c:v>
                </c:pt>
                <c:pt idx="19">
                  <c:v>0</c:v>
                </c:pt>
                <c:pt idx="20">
                  <c:v>1.0638297872340425E-2</c:v>
                </c:pt>
                <c:pt idx="21">
                  <c:v>4.7281323877068557E-3</c:v>
                </c:pt>
                <c:pt idx="22">
                  <c:v>1.1820330969267139E-3</c:v>
                </c:pt>
                <c:pt idx="23">
                  <c:v>0.56619385342789597</c:v>
                </c:pt>
                <c:pt idx="24">
                  <c:v>0.17375886524822695</c:v>
                </c:pt>
                <c:pt idx="25">
                  <c:v>0.10047281323877069</c:v>
                </c:pt>
                <c:pt idx="26">
                  <c:v>5.0827423167848697E-2</c:v>
                </c:pt>
                <c:pt idx="27">
                  <c:v>3.0732860520094562E-2</c:v>
                </c:pt>
                <c:pt idx="28">
                  <c:v>3.5460992907801421E-2</c:v>
                </c:pt>
                <c:pt idx="29">
                  <c:v>9.4562647754137114E-3</c:v>
                </c:pt>
                <c:pt idx="30">
                  <c:v>8.2742316784869974E-3</c:v>
                </c:pt>
                <c:pt idx="31">
                  <c:v>0</c:v>
                </c:pt>
                <c:pt idx="32">
                  <c:v>1.1820330969267139E-3</c:v>
                </c:pt>
                <c:pt idx="33">
                  <c:v>2.3640661938534278E-3</c:v>
                </c:pt>
                <c:pt idx="34">
                  <c:v>1.1820330969267139E-3</c:v>
                </c:pt>
                <c:pt idx="35">
                  <c:v>0</c:v>
                </c:pt>
                <c:pt idx="36">
                  <c:v>1.1820330969267139E-3</c:v>
                </c:pt>
                <c:pt idx="37">
                  <c:v>0</c:v>
                </c:pt>
                <c:pt idx="38">
                  <c:v>1.1820330969267139E-3</c:v>
                </c:pt>
                <c:pt idx="39">
                  <c:v>0</c:v>
                </c:pt>
                <c:pt idx="40">
                  <c:v>7.0339976553341153E-3</c:v>
                </c:pt>
                <c:pt idx="41">
                  <c:v>4.6893317702227429E-3</c:v>
                </c:pt>
                <c:pt idx="42">
                  <c:v>1.1723329425556857E-3</c:v>
                </c:pt>
                <c:pt idx="43">
                  <c:v>0.65650644783118406</c:v>
                </c:pt>
                <c:pt idx="44">
                  <c:v>0.123094958968347</c:v>
                </c:pt>
                <c:pt idx="45">
                  <c:v>8.792497069167643E-2</c:v>
                </c:pt>
                <c:pt idx="46">
                  <c:v>3.8686987104337635E-2</c:v>
                </c:pt>
                <c:pt idx="47">
                  <c:v>3.048065650644783E-2</c:v>
                </c:pt>
                <c:pt idx="48">
                  <c:v>2.5791324736225089E-2</c:v>
                </c:pt>
                <c:pt idx="49">
                  <c:v>1.0550996483001172E-2</c:v>
                </c:pt>
                <c:pt idx="50">
                  <c:v>8.2063305978898014E-3</c:v>
                </c:pt>
                <c:pt idx="51">
                  <c:v>0</c:v>
                </c:pt>
                <c:pt idx="52">
                  <c:v>1.1723329425556857E-3</c:v>
                </c:pt>
                <c:pt idx="53">
                  <c:v>2.3446658851113715E-3</c:v>
                </c:pt>
                <c:pt idx="54">
                  <c:v>1.1723329425556857E-3</c:v>
                </c:pt>
                <c:pt idx="55">
                  <c:v>0</c:v>
                </c:pt>
                <c:pt idx="56">
                  <c:v>1.1723329425556857E-3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7.1343638525564806E-3</c:v>
                </c:pt>
                <c:pt idx="61">
                  <c:v>3.5671819262782403E-3</c:v>
                </c:pt>
                <c:pt idx="62">
                  <c:v>1.1890606420927466E-3</c:v>
                </c:pt>
                <c:pt idx="63">
                  <c:v>0.6504161712247325</c:v>
                </c:pt>
                <c:pt idx="64">
                  <c:v>0.12604042806183116</c:v>
                </c:pt>
                <c:pt idx="65">
                  <c:v>8.0856123662306781E-2</c:v>
                </c:pt>
                <c:pt idx="66">
                  <c:v>4.2806183115338882E-2</c:v>
                </c:pt>
                <c:pt idx="67">
                  <c:v>3.2104637336504163E-2</c:v>
                </c:pt>
                <c:pt idx="68">
                  <c:v>2.9726516052318668E-2</c:v>
                </c:pt>
                <c:pt idx="69">
                  <c:v>1.1890606420927468E-2</c:v>
                </c:pt>
                <c:pt idx="70">
                  <c:v>7.1343638525564806E-3</c:v>
                </c:pt>
                <c:pt idx="71">
                  <c:v>1.1890606420927466E-3</c:v>
                </c:pt>
                <c:pt idx="72">
                  <c:v>1.1890606420927466E-3</c:v>
                </c:pt>
                <c:pt idx="73">
                  <c:v>2.3781212841854932E-3</c:v>
                </c:pt>
                <c:pt idx="74">
                  <c:v>1.1890606420927466E-3</c:v>
                </c:pt>
                <c:pt idx="75">
                  <c:v>0</c:v>
                </c:pt>
                <c:pt idx="76">
                  <c:v>1.1890606420927466E-3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9.4562647754137114E-3</c:v>
                </c:pt>
                <c:pt idx="81">
                  <c:v>5.9101654846335696E-3</c:v>
                </c:pt>
                <c:pt idx="82">
                  <c:v>2.3640661938534278E-3</c:v>
                </c:pt>
                <c:pt idx="83">
                  <c:v>0.55673758865248224</c:v>
                </c:pt>
                <c:pt idx="84">
                  <c:v>0.16666666666666666</c:v>
                </c:pt>
                <c:pt idx="85">
                  <c:v>0.10047281323877069</c:v>
                </c:pt>
                <c:pt idx="86">
                  <c:v>5.4373522458628844E-2</c:v>
                </c:pt>
                <c:pt idx="87">
                  <c:v>3.7825059101654845E-2</c:v>
                </c:pt>
                <c:pt idx="88">
                  <c:v>3.664302600472813E-2</c:v>
                </c:pt>
                <c:pt idx="89">
                  <c:v>1.3002364066193853E-2</c:v>
                </c:pt>
                <c:pt idx="90">
                  <c:v>8.2742316784869974E-3</c:v>
                </c:pt>
                <c:pt idx="91">
                  <c:v>1.1820330969267139E-3</c:v>
                </c:pt>
                <c:pt idx="92">
                  <c:v>1.1820330969267139E-3</c:v>
                </c:pt>
                <c:pt idx="93">
                  <c:v>2.3640661938534278E-3</c:v>
                </c:pt>
                <c:pt idx="94">
                  <c:v>1.1820330969267139E-3</c:v>
                </c:pt>
                <c:pt idx="95">
                  <c:v>0</c:v>
                </c:pt>
                <c:pt idx="96">
                  <c:v>1.1820330969267139E-3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6.2893081761006293E-3</c:v>
                </c:pt>
                <c:pt idx="101">
                  <c:v>5.2410901467505244E-3</c:v>
                </c:pt>
                <c:pt idx="102">
                  <c:v>2.0964360587002098E-3</c:v>
                </c:pt>
                <c:pt idx="103">
                  <c:v>0.5765199161425576</c:v>
                </c:pt>
                <c:pt idx="104">
                  <c:v>0.16876310272536688</c:v>
                </c:pt>
                <c:pt idx="105">
                  <c:v>9.9580712788259959E-2</c:v>
                </c:pt>
                <c:pt idx="106">
                  <c:v>5.0314465408805034E-2</c:v>
                </c:pt>
                <c:pt idx="107">
                  <c:v>3.1446540880503145E-2</c:v>
                </c:pt>
                <c:pt idx="108">
                  <c:v>3.2494758909853247E-2</c:v>
                </c:pt>
                <c:pt idx="109">
                  <c:v>1.0482180293501049E-2</c:v>
                </c:pt>
                <c:pt idx="110">
                  <c:v>9.433962264150943E-3</c:v>
                </c:pt>
                <c:pt idx="111">
                  <c:v>1.0482180293501049E-3</c:v>
                </c:pt>
                <c:pt idx="112">
                  <c:v>1.0482180293501049E-3</c:v>
                </c:pt>
                <c:pt idx="113">
                  <c:v>2.0964360587002098E-3</c:v>
                </c:pt>
                <c:pt idx="114">
                  <c:v>1.0482180293501049E-3</c:v>
                </c:pt>
                <c:pt idx="115">
                  <c:v>0</c:v>
                </c:pt>
                <c:pt idx="116">
                  <c:v>1.0482180293501049E-3</c:v>
                </c:pt>
                <c:pt idx="117">
                  <c:v>0</c:v>
                </c:pt>
                <c:pt idx="118">
                  <c:v>0</c:v>
                </c:pt>
                <c:pt idx="119">
                  <c:v>0</c:v>
                </c:pt>
                <c:pt idx="120">
                  <c:v>1.0121457489878543E-2</c:v>
                </c:pt>
                <c:pt idx="121">
                  <c:v>7.0850202429149798E-3</c:v>
                </c:pt>
                <c:pt idx="122">
                  <c:v>2.0242914979757085E-3</c:v>
                </c:pt>
                <c:pt idx="123">
                  <c:v>0.5748987854251012</c:v>
                </c:pt>
                <c:pt idx="124">
                  <c:v>0.16902834008097167</c:v>
                </c:pt>
                <c:pt idx="125">
                  <c:v>0.10526315789473684</c:v>
                </c:pt>
                <c:pt idx="126">
                  <c:v>4.5546558704453441E-2</c:v>
                </c:pt>
                <c:pt idx="127">
                  <c:v>2.7327935222672066E-2</c:v>
                </c:pt>
                <c:pt idx="128">
                  <c:v>3.137651821862348E-2</c:v>
                </c:pt>
                <c:pt idx="129">
                  <c:v>1.1133603238866396E-2</c:v>
                </c:pt>
                <c:pt idx="130">
                  <c:v>9.1093117408906875E-3</c:v>
                </c:pt>
                <c:pt idx="131">
                  <c:v>1.0121457489878543E-3</c:v>
                </c:pt>
                <c:pt idx="132">
                  <c:v>1.0121457489878543E-3</c:v>
                </c:pt>
                <c:pt idx="133">
                  <c:v>2.0242914979757085E-3</c:v>
                </c:pt>
                <c:pt idx="134">
                  <c:v>1.0121457489878543E-3</c:v>
                </c:pt>
                <c:pt idx="135">
                  <c:v>0</c:v>
                </c:pt>
                <c:pt idx="136">
                  <c:v>1.0121457489878543E-3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0">
                  <c:v>1.079913606911447E-2</c:v>
                </c:pt>
                <c:pt idx="141">
                  <c:v>5.3995680345572351E-3</c:v>
                </c:pt>
                <c:pt idx="142">
                  <c:v>1.0799136069114472E-3</c:v>
                </c:pt>
                <c:pt idx="143">
                  <c:v>0.74406047516198703</c:v>
                </c:pt>
                <c:pt idx="144">
                  <c:v>6.8034557235421164E-2</c:v>
                </c:pt>
                <c:pt idx="145">
                  <c:v>4.9676025917926567E-2</c:v>
                </c:pt>
                <c:pt idx="146">
                  <c:v>3.4557235421166309E-2</c:v>
                </c:pt>
                <c:pt idx="147">
                  <c:v>2.8077753779697623E-2</c:v>
                </c:pt>
                <c:pt idx="148">
                  <c:v>3.0237580993520519E-2</c:v>
                </c:pt>
                <c:pt idx="149">
                  <c:v>1.1879049676025918E-2</c:v>
                </c:pt>
                <c:pt idx="150">
                  <c:v>8.6393088552915772E-3</c:v>
                </c:pt>
                <c:pt idx="151">
                  <c:v>1.0799136069114472E-3</c:v>
                </c:pt>
                <c:pt idx="152">
                  <c:v>1.0799136069114472E-3</c:v>
                </c:pt>
                <c:pt idx="153">
                  <c:v>2.1598272138228943E-3</c:v>
                </c:pt>
                <c:pt idx="154">
                  <c:v>1.0799136069114472E-3</c:v>
                </c:pt>
                <c:pt idx="155">
                  <c:v>0</c:v>
                </c:pt>
                <c:pt idx="156">
                  <c:v>1.0799136069114472E-3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1.1574074074074073E-2</c:v>
                </c:pt>
                <c:pt idx="161">
                  <c:v>5.7870370370370367E-3</c:v>
                </c:pt>
                <c:pt idx="162">
                  <c:v>1.1574074074074073E-3</c:v>
                </c:pt>
                <c:pt idx="163">
                  <c:v>0.72453703703703709</c:v>
                </c:pt>
                <c:pt idx="164">
                  <c:v>7.1759259259259259E-2</c:v>
                </c:pt>
                <c:pt idx="165">
                  <c:v>5.3240740740740741E-2</c:v>
                </c:pt>
                <c:pt idx="166">
                  <c:v>3.8194444444444448E-2</c:v>
                </c:pt>
                <c:pt idx="167">
                  <c:v>3.2407407407407406E-2</c:v>
                </c:pt>
                <c:pt idx="168">
                  <c:v>3.2407407407407406E-2</c:v>
                </c:pt>
                <c:pt idx="169">
                  <c:v>1.1574074074074073E-2</c:v>
                </c:pt>
                <c:pt idx="170">
                  <c:v>9.2592592592592587E-3</c:v>
                </c:pt>
                <c:pt idx="171">
                  <c:v>1.1574074074074073E-3</c:v>
                </c:pt>
                <c:pt idx="172">
                  <c:v>1.1574074074074073E-3</c:v>
                </c:pt>
                <c:pt idx="173">
                  <c:v>2.3148148148148147E-3</c:v>
                </c:pt>
                <c:pt idx="174">
                  <c:v>1.1574074074074073E-3</c:v>
                </c:pt>
                <c:pt idx="175">
                  <c:v>0</c:v>
                </c:pt>
                <c:pt idx="176">
                  <c:v>1.1574074074074073E-3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1.0172939979654121E-2</c:v>
                </c:pt>
                <c:pt idx="181">
                  <c:v>5.0864699898270603E-3</c:v>
                </c:pt>
                <c:pt idx="182">
                  <c:v>1.017293997965412E-3</c:v>
                </c:pt>
                <c:pt idx="183">
                  <c:v>0.57884028484231942</c:v>
                </c:pt>
                <c:pt idx="184">
                  <c:v>0.17192268565615462</c:v>
                </c:pt>
                <c:pt idx="185">
                  <c:v>9.8677517802644971E-2</c:v>
                </c:pt>
                <c:pt idx="186">
                  <c:v>4.6795523906408953E-2</c:v>
                </c:pt>
                <c:pt idx="187">
                  <c:v>3.1536113936927769E-2</c:v>
                </c:pt>
                <c:pt idx="188">
                  <c:v>2.9501525940996948E-2</c:v>
                </c:pt>
                <c:pt idx="189">
                  <c:v>1.0172939979654121E-2</c:v>
                </c:pt>
                <c:pt idx="190">
                  <c:v>9.1556459816887082E-3</c:v>
                </c:pt>
                <c:pt idx="191">
                  <c:v>1.017293997965412E-3</c:v>
                </c:pt>
                <c:pt idx="192">
                  <c:v>1.017293997965412E-3</c:v>
                </c:pt>
                <c:pt idx="193">
                  <c:v>2.0345879959308239E-3</c:v>
                </c:pt>
                <c:pt idx="194">
                  <c:v>1.017293997965412E-3</c:v>
                </c:pt>
                <c:pt idx="195">
                  <c:v>0</c:v>
                </c:pt>
                <c:pt idx="196">
                  <c:v>1.017293997965412E-3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9.9601593625498006E-3</c:v>
                </c:pt>
                <c:pt idx="201">
                  <c:v>4.9800796812749003E-3</c:v>
                </c:pt>
                <c:pt idx="202">
                  <c:v>1.9920318725099601E-3</c:v>
                </c:pt>
                <c:pt idx="203">
                  <c:v>0.58067729083665343</c:v>
                </c:pt>
                <c:pt idx="204">
                  <c:v>0.1752988047808765</c:v>
                </c:pt>
                <c:pt idx="205">
                  <c:v>0.10159362549800798</c:v>
                </c:pt>
                <c:pt idx="206">
                  <c:v>4.4820717131474105E-2</c:v>
                </c:pt>
                <c:pt idx="207">
                  <c:v>2.7888446215139442E-2</c:v>
                </c:pt>
                <c:pt idx="208">
                  <c:v>2.9880478087649404E-2</c:v>
                </c:pt>
                <c:pt idx="209">
                  <c:v>7.9681274900398405E-3</c:v>
                </c:pt>
                <c:pt idx="210">
                  <c:v>7.9681274900398405E-3</c:v>
                </c:pt>
                <c:pt idx="211">
                  <c:v>9.9601593625498006E-4</c:v>
                </c:pt>
                <c:pt idx="212">
                  <c:v>9.9601593625498006E-4</c:v>
                </c:pt>
                <c:pt idx="213">
                  <c:v>1.9920318725099601E-3</c:v>
                </c:pt>
                <c:pt idx="214">
                  <c:v>9.9601593625498006E-4</c:v>
                </c:pt>
                <c:pt idx="215">
                  <c:v>0</c:v>
                </c:pt>
                <c:pt idx="216">
                  <c:v>9.9601593625498006E-4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1.1190233977619531E-2</c:v>
                </c:pt>
                <c:pt idx="221">
                  <c:v>5.0864699898270603E-3</c:v>
                </c:pt>
                <c:pt idx="222">
                  <c:v>2.0345879959308239E-3</c:v>
                </c:pt>
                <c:pt idx="223">
                  <c:v>0.57578840284842314</c:v>
                </c:pt>
                <c:pt idx="224">
                  <c:v>0.17395727365208546</c:v>
                </c:pt>
                <c:pt idx="225">
                  <c:v>0.10579857578840285</c:v>
                </c:pt>
                <c:pt idx="226">
                  <c:v>4.4760935910478125E-2</c:v>
                </c:pt>
                <c:pt idx="227">
                  <c:v>2.6449643947100712E-2</c:v>
                </c:pt>
                <c:pt idx="228">
                  <c:v>2.7466937945066123E-2</c:v>
                </c:pt>
                <c:pt idx="229">
                  <c:v>1.1190233977619531E-2</c:v>
                </c:pt>
                <c:pt idx="230">
                  <c:v>8.1383519837232958E-3</c:v>
                </c:pt>
                <c:pt idx="231">
                  <c:v>1.017293997965412E-3</c:v>
                </c:pt>
                <c:pt idx="232">
                  <c:v>1.017293997965412E-3</c:v>
                </c:pt>
                <c:pt idx="233">
                  <c:v>2.0345879959308239E-3</c:v>
                </c:pt>
                <c:pt idx="234">
                  <c:v>1.017293997965412E-3</c:v>
                </c:pt>
                <c:pt idx="235">
                  <c:v>0</c:v>
                </c:pt>
                <c:pt idx="236">
                  <c:v>1.017293997965412E-3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0-1086-4B4C-BFB8-425DBE1CBA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20"/>
        <c:showNegBubbles val="0"/>
        <c:axId val="1658987535"/>
        <c:axId val="1658988015"/>
      </c:bubbleChart>
      <c:valAx>
        <c:axId val="1658987535"/>
        <c:scaling>
          <c:orientation val="minMax"/>
          <c:max val="13"/>
          <c:min val="0"/>
        </c:scaling>
        <c:delete val="1"/>
        <c:axPos val="b"/>
        <c:numFmt formatCode="General" sourceLinked="1"/>
        <c:majorTickMark val="none"/>
        <c:minorTickMark val="none"/>
        <c:tickLblPos val="nextTo"/>
        <c:crossAx val="1658988015"/>
        <c:crosses val="autoZero"/>
        <c:crossBetween val="midCat"/>
      </c:valAx>
      <c:valAx>
        <c:axId val="16589880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FR" b="1"/>
                  <a:t>Prix /L avant impot</a:t>
                </a:r>
              </a:p>
            </c:rich>
          </c:tx>
          <c:layout>
            <c:manualLayout>
              <c:xMode val="edge"/>
              <c:yMode val="edge"/>
              <c:x val="2.7594202697018263E-3"/>
              <c:y val="0.3049822241971704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#,##0&quot;€&quot;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658987535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/>
      </a:pPr>
      <a:endParaRPr lang="fr-FR"/>
    </a:p>
  </c:txPr>
  <c:externalData r:id="rId3">
    <c:autoUpdate val="1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2403286317403983E-2"/>
          <c:y val="3.4310766844797315E-2"/>
          <c:w val="0.8498689629352304"/>
          <c:h val="0.740812487499587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D0 - Promotions'!$CR$5</c:f>
              <c:strCache>
                <c:ptCount val="1"/>
                <c:pt idx="0">
                  <c:v>Promo %</c:v>
                </c:pt>
              </c:strCache>
            </c:strRef>
          </c:tx>
          <c:spPr>
            <a:solidFill>
              <a:srgbClr val="868A96">
                <a:alpha val="20000"/>
              </a:srgbClr>
            </a:solidFill>
            <a:ln>
              <a:noFill/>
            </a:ln>
            <a:effectLst/>
          </c:spPr>
          <c:invertIfNegative val="0"/>
          <c:dLbls>
            <c:numFmt formatCode="0%;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D0 - Promotions'!$CQ$6:$CQ$17</c:f>
              <c:numCache>
                <c:formatCode>General</c:formatCode>
                <c:ptCount val="12"/>
                <c:pt idx="0">
                  <c:v>20250616</c:v>
                </c:pt>
                <c:pt idx="1">
                  <c:v>20250623</c:v>
                </c:pt>
                <c:pt idx="2">
                  <c:v>20250630</c:v>
                </c:pt>
                <c:pt idx="3">
                  <c:v>20250707</c:v>
                </c:pt>
                <c:pt idx="4">
                  <c:v>20250714</c:v>
                </c:pt>
                <c:pt idx="5">
                  <c:v>20250721</c:v>
                </c:pt>
                <c:pt idx="6">
                  <c:v>20250728</c:v>
                </c:pt>
                <c:pt idx="7">
                  <c:v>20250804</c:v>
                </c:pt>
                <c:pt idx="8">
                  <c:v>20250811</c:v>
                </c:pt>
                <c:pt idx="9">
                  <c:v>20250818</c:v>
                </c:pt>
                <c:pt idx="10">
                  <c:v>20250825</c:v>
                </c:pt>
                <c:pt idx="11">
                  <c:v>20250901</c:v>
                </c:pt>
              </c:numCache>
            </c:numRef>
          </c:cat>
          <c:val>
            <c:numRef>
              <c:f>'D0 - Promotions'!$CR$6:$CR$17</c:f>
              <c:numCache>
                <c:formatCode>0%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.82222222222222219</c:v>
                </c:pt>
                <c:pt idx="4">
                  <c:v>0.75862068965517238</c:v>
                </c:pt>
                <c:pt idx="5">
                  <c:v>0.19230769230769232</c:v>
                </c:pt>
                <c:pt idx="6">
                  <c:v>0.36363636363636365</c:v>
                </c:pt>
                <c:pt idx="7">
                  <c:v>0.2982456140350877</c:v>
                </c:pt>
                <c:pt idx="8">
                  <c:v>0.32038834951456313</c:v>
                </c:pt>
                <c:pt idx="9">
                  <c:v>0.11764705882352941</c:v>
                </c:pt>
                <c:pt idx="10">
                  <c:v>0.18478260869565216</c:v>
                </c:pt>
                <c:pt idx="1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9EA-4AE6-8901-A1FCBEE730F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-27"/>
        <c:axId val="1543007695"/>
        <c:axId val="1543015375"/>
      </c:barChart>
      <c:catAx>
        <c:axId val="154300769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543015375"/>
        <c:crosses val="autoZero"/>
        <c:auto val="1"/>
        <c:lblAlgn val="ctr"/>
        <c:lblOffset val="100"/>
        <c:noMultiLvlLbl val="0"/>
      </c:catAx>
      <c:valAx>
        <c:axId val="1543015375"/>
        <c:scaling>
          <c:orientation val="minMax"/>
          <c:max val="1"/>
          <c:min val="0"/>
        </c:scaling>
        <c:delete val="1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FR" b="1" dirty="0"/>
                  <a:t>Part</a:t>
                </a:r>
                <a:r>
                  <a:rPr lang="fr-FR" b="1" baseline="0" dirty="0"/>
                  <a:t> des magasins adressés en promotion</a:t>
                </a:r>
                <a:endParaRPr lang="fr-FR" b="1" dirty="0"/>
              </a:p>
            </c:rich>
          </c:tx>
          <c:layout>
            <c:manualLayout>
              <c:xMode val="edge"/>
              <c:yMode val="edge"/>
              <c:x val="0.96469336574297915"/>
              <c:y val="7.0872327791105402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0%" sourceLinked="1"/>
        <c:majorTickMark val="none"/>
        <c:minorTickMark val="none"/>
        <c:tickLblPos val="high"/>
        <c:crossAx val="154300769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200"/>
      </a:pPr>
      <a:endParaRPr lang="fr-FR"/>
    </a:p>
  </c:txPr>
  <c:externalData r:id="rId3">
    <c:autoUpdate val="1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ubbleChart>
        <c:varyColors val="0"/>
        <c:ser>
          <c:idx val="0"/>
          <c:order val="0"/>
          <c:tx>
            <c:strRef>
              <c:f>'D0 - Promotions'!$CM$5</c:f>
              <c:strCache>
                <c:ptCount val="1"/>
                <c:pt idx="0">
                  <c:v>Y = Prix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 w="57150">
              <a:solidFill>
                <a:schemeClr val="tx2">
                  <a:lumMod val="60000"/>
                  <a:lumOff val="40000"/>
                </a:schemeClr>
              </a:solidFill>
            </a:ln>
            <a:effectLst/>
          </c:spPr>
          <c:invertIfNegative val="0"/>
          <c:xVal>
            <c:numRef>
              <c:f>'D0 - Promotions'!$CL$6:$CL$245</c:f>
              <c:numCache>
                <c:formatCode>General</c:formatCode>
                <c:ptCount val="24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2</c:v>
                </c:pt>
                <c:pt idx="21">
                  <c:v>2</c:v>
                </c:pt>
                <c:pt idx="22">
                  <c:v>2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2</c:v>
                </c:pt>
                <c:pt idx="28">
                  <c:v>2</c:v>
                </c:pt>
                <c:pt idx="29">
                  <c:v>2</c:v>
                </c:pt>
                <c:pt idx="30">
                  <c:v>2</c:v>
                </c:pt>
                <c:pt idx="31">
                  <c:v>2</c:v>
                </c:pt>
                <c:pt idx="32">
                  <c:v>2</c:v>
                </c:pt>
                <c:pt idx="33">
                  <c:v>2</c:v>
                </c:pt>
                <c:pt idx="34">
                  <c:v>2</c:v>
                </c:pt>
                <c:pt idx="35">
                  <c:v>2</c:v>
                </c:pt>
                <c:pt idx="36">
                  <c:v>2</c:v>
                </c:pt>
                <c:pt idx="37">
                  <c:v>2</c:v>
                </c:pt>
                <c:pt idx="38">
                  <c:v>2</c:v>
                </c:pt>
                <c:pt idx="39">
                  <c:v>2</c:v>
                </c:pt>
                <c:pt idx="40">
                  <c:v>3</c:v>
                </c:pt>
                <c:pt idx="41">
                  <c:v>3</c:v>
                </c:pt>
                <c:pt idx="42">
                  <c:v>3</c:v>
                </c:pt>
                <c:pt idx="43">
                  <c:v>3</c:v>
                </c:pt>
                <c:pt idx="44">
                  <c:v>3</c:v>
                </c:pt>
                <c:pt idx="45">
                  <c:v>3</c:v>
                </c:pt>
                <c:pt idx="46">
                  <c:v>3</c:v>
                </c:pt>
                <c:pt idx="47">
                  <c:v>3</c:v>
                </c:pt>
                <c:pt idx="48">
                  <c:v>3</c:v>
                </c:pt>
                <c:pt idx="49">
                  <c:v>3</c:v>
                </c:pt>
                <c:pt idx="50">
                  <c:v>3</c:v>
                </c:pt>
                <c:pt idx="51">
                  <c:v>3</c:v>
                </c:pt>
                <c:pt idx="52">
                  <c:v>3</c:v>
                </c:pt>
                <c:pt idx="53">
                  <c:v>3</c:v>
                </c:pt>
                <c:pt idx="54">
                  <c:v>3</c:v>
                </c:pt>
                <c:pt idx="55">
                  <c:v>3</c:v>
                </c:pt>
                <c:pt idx="56">
                  <c:v>3</c:v>
                </c:pt>
                <c:pt idx="57">
                  <c:v>3</c:v>
                </c:pt>
                <c:pt idx="58">
                  <c:v>3</c:v>
                </c:pt>
                <c:pt idx="59">
                  <c:v>3</c:v>
                </c:pt>
                <c:pt idx="60">
                  <c:v>4</c:v>
                </c:pt>
                <c:pt idx="61">
                  <c:v>4</c:v>
                </c:pt>
                <c:pt idx="62">
                  <c:v>4</c:v>
                </c:pt>
                <c:pt idx="63">
                  <c:v>4</c:v>
                </c:pt>
                <c:pt idx="64">
                  <c:v>4</c:v>
                </c:pt>
                <c:pt idx="65">
                  <c:v>4</c:v>
                </c:pt>
                <c:pt idx="66">
                  <c:v>4</c:v>
                </c:pt>
                <c:pt idx="67">
                  <c:v>4</c:v>
                </c:pt>
                <c:pt idx="68">
                  <c:v>4</c:v>
                </c:pt>
                <c:pt idx="69">
                  <c:v>4</c:v>
                </c:pt>
                <c:pt idx="70">
                  <c:v>4</c:v>
                </c:pt>
                <c:pt idx="71">
                  <c:v>4</c:v>
                </c:pt>
                <c:pt idx="72">
                  <c:v>4</c:v>
                </c:pt>
                <c:pt idx="73">
                  <c:v>4</c:v>
                </c:pt>
                <c:pt idx="74">
                  <c:v>4</c:v>
                </c:pt>
                <c:pt idx="75">
                  <c:v>4</c:v>
                </c:pt>
                <c:pt idx="76">
                  <c:v>4</c:v>
                </c:pt>
                <c:pt idx="77">
                  <c:v>4</c:v>
                </c:pt>
                <c:pt idx="78">
                  <c:v>4</c:v>
                </c:pt>
                <c:pt idx="79">
                  <c:v>4</c:v>
                </c:pt>
                <c:pt idx="80">
                  <c:v>5</c:v>
                </c:pt>
                <c:pt idx="81">
                  <c:v>5</c:v>
                </c:pt>
                <c:pt idx="82">
                  <c:v>5</c:v>
                </c:pt>
                <c:pt idx="83">
                  <c:v>5</c:v>
                </c:pt>
                <c:pt idx="84">
                  <c:v>5</c:v>
                </c:pt>
                <c:pt idx="85">
                  <c:v>5</c:v>
                </c:pt>
                <c:pt idx="86">
                  <c:v>5</c:v>
                </c:pt>
                <c:pt idx="87">
                  <c:v>5</c:v>
                </c:pt>
                <c:pt idx="88">
                  <c:v>5</c:v>
                </c:pt>
                <c:pt idx="89">
                  <c:v>5</c:v>
                </c:pt>
                <c:pt idx="90">
                  <c:v>5</c:v>
                </c:pt>
                <c:pt idx="91">
                  <c:v>5</c:v>
                </c:pt>
                <c:pt idx="92">
                  <c:v>5</c:v>
                </c:pt>
                <c:pt idx="93">
                  <c:v>5</c:v>
                </c:pt>
                <c:pt idx="94">
                  <c:v>5</c:v>
                </c:pt>
                <c:pt idx="95">
                  <c:v>5</c:v>
                </c:pt>
                <c:pt idx="96">
                  <c:v>5</c:v>
                </c:pt>
                <c:pt idx="97">
                  <c:v>5</c:v>
                </c:pt>
                <c:pt idx="98">
                  <c:v>5</c:v>
                </c:pt>
                <c:pt idx="99">
                  <c:v>5</c:v>
                </c:pt>
                <c:pt idx="100">
                  <c:v>6</c:v>
                </c:pt>
                <c:pt idx="101">
                  <c:v>6</c:v>
                </c:pt>
                <c:pt idx="102">
                  <c:v>6</c:v>
                </c:pt>
                <c:pt idx="103">
                  <c:v>6</c:v>
                </c:pt>
                <c:pt idx="104">
                  <c:v>6</c:v>
                </c:pt>
                <c:pt idx="105">
                  <c:v>6</c:v>
                </c:pt>
                <c:pt idx="106">
                  <c:v>6</c:v>
                </c:pt>
                <c:pt idx="107">
                  <c:v>6</c:v>
                </c:pt>
                <c:pt idx="108">
                  <c:v>6</c:v>
                </c:pt>
                <c:pt idx="109">
                  <c:v>6</c:v>
                </c:pt>
                <c:pt idx="110">
                  <c:v>6</c:v>
                </c:pt>
                <c:pt idx="111">
                  <c:v>6</c:v>
                </c:pt>
                <c:pt idx="112">
                  <c:v>6</c:v>
                </c:pt>
                <c:pt idx="113">
                  <c:v>6</c:v>
                </c:pt>
                <c:pt idx="114">
                  <c:v>6</c:v>
                </c:pt>
                <c:pt idx="115">
                  <c:v>6</c:v>
                </c:pt>
                <c:pt idx="116">
                  <c:v>6</c:v>
                </c:pt>
                <c:pt idx="117">
                  <c:v>6</c:v>
                </c:pt>
                <c:pt idx="118">
                  <c:v>6</c:v>
                </c:pt>
                <c:pt idx="119">
                  <c:v>6</c:v>
                </c:pt>
                <c:pt idx="120">
                  <c:v>7</c:v>
                </c:pt>
                <c:pt idx="121">
                  <c:v>7</c:v>
                </c:pt>
                <c:pt idx="122">
                  <c:v>7</c:v>
                </c:pt>
                <c:pt idx="123">
                  <c:v>7</c:v>
                </c:pt>
                <c:pt idx="124">
                  <c:v>7</c:v>
                </c:pt>
                <c:pt idx="125">
                  <c:v>7</c:v>
                </c:pt>
                <c:pt idx="126">
                  <c:v>7</c:v>
                </c:pt>
                <c:pt idx="127">
                  <c:v>7</c:v>
                </c:pt>
                <c:pt idx="128">
                  <c:v>7</c:v>
                </c:pt>
                <c:pt idx="129">
                  <c:v>7</c:v>
                </c:pt>
                <c:pt idx="130">
                  <c:v>7</c:v>
                </c:pt>
                <c:pt idx="131">
                  <c:v>7</c:v>
                </c:pt>
                <c:pt idx="132">
                  <c:v>7</c:v>
                </c:pt>
                <c:pt idx="133">
                  <c:v>7</c:v>
                </c:pt>
                <c:pt idx="134">
                  <c:v>7</c:v>
                </c:pt>
                <c:pt idx="135">
                  <c:v>7</c:v>
                </c:pt>
                <c:pt idx="136">
                  <c:v>7</c:v>
                </c:pt>
                <c:pt idx="137">
                  <c:v>7</c:v>
                </c:pt>
                <c:pt idx="138">
                  <c:v>7</c:v>
                </c:pt>
                <c:pt idx="139">
                  <c:v>7</c:v>
                </c:pt>
                <c:pt idx="140">
                  <c:v>8</c:v>
                </c:pt>
                <c:pt idx="141">
                  <c:v>8</c:v>
                </c:pt>
                <c:pt idx="142">
                  <c:v>8</c:v>
                </c:pt>
                <c:pt idx="143">
                  <c:v>8</c:v>
                </c:pt>
                <c:pt idx="144">
                  <c:v>8</c:v>
                </c:pt>
                <c:pt idx="145">
                  <c:v>8</c:v>
                </c:pt>
                <c:pt idx="146">
                  <c:v>8</c:v>
                </c:pt>
                <c:pt idx="147">
                  <c:v>8</c:v>
                </c:pt>
                <c:pt idx="148">
                  <c:v>8</c:v>
                </c:pt>
                <c:pt idx="149">
                  <c:v>8</c:v>
                </c:pt>
                <c:pt idx="150">
                  <c:v>8</c:v>
                </c:pt>
                <c:pt idx="151">
                  <c:v>8</c:v>
                </c:pt>
                <c:pt idx="152">
                  <c:v>8</c:v>
                </c:pt>
                <c:pt idx="153">
                  <c:v>8</c:v>
                </c:pt>
                <c:pt idx="154">
                  <c:v>8</c:v>
                </c:pt>
                <c:pt idx="155">
                  <c:v>8</c:v>
                </c:pt>
                <c:pt idx="156">
                  <c:v>8</c:v>
                </c:pt>
                <c:pt idx="157">
                  <c:v>8</c:v>
                </c:pt>
                <c:pt idx="158">
                  <c:v>8</c:v>
                </c:pt>
                <c:pt idx="159">
                  <c:v>8</c:v>
                </c:pt>
                <c:pt idx="160">
                  <c:v>9</c:v>
                </c:pt>
                <c:pt idx="161">
                  <c:v>9</c:v>
                </c:pt>
                <c:pt idx="162">
                  <c:v>9</c:v>
                </c:pt>
                <c:pt idx="163">
                  <c:v>9</c:v>
                </c:pt>
                <c:pt idx="164">
                  <c:v>9</c:v>
                </c:pt>
                <c:pt idx="165">
                  <c:v>9</c:v>
                </c:pt>
                <c:pt idx="166">
                  <c:v>9</c:v>
                </c:pt>
                <c:pt idx="167">
                  <c:v>9</c:v>
                </c:pt>
                <c:pt idx="168">
                  <c:v>9</c:v>
                </c:pt>
                <c:pt idx="169">
                  <c:v>9</c:v>
                </c:pt>
                <c:pt idx="170">
                  <c:v>9</c:v>
                </c:pt>
                <c:pt idx="171">
                  <c:v>9</c:v>
                </c:pt>
                <c:pt idx="172">
                  <c:v>9</c:v>
                </c:pt>
                <c:pt idx="173">
                  <c:v>9</c:v>
                </c:pt>
                <c:pt idx="174">
                  <c:v>9</c:v>
                </c:pt>
                <c:pt idx="175">
                  <c:v>9</c:v>
                </c:pt>
                <c:pt idx="176">
                  <c:v>9</c:v>
                </c:pt>
                <c:pt idx="177">
                  <c:v>9</c:v>
                </c:pt>
                <c:pt idx="178">
                  <c:v>9</c:v>
                </c:pt>
                <c:pt idx="179">
                  <c:v>9</c:v>
                </c:pt>
                <c:pt idx="180">
                  <c:v>10</c:v>
                </c:pt>
                <c:pt idx="181">
                  <c:v>10</c:v>
                </c:pt>
                <c:pt idx="182">
                  <c:v>10</c:v>
                </c:pt>
                <c:pt idx="183">
                  <c:v>10</c:v>
                </c:pt>
                <c:pt idx="184">
                  <c:v>10</c:v>
                </c:pt>
                <c:pt idx="185">
                  <c:v>10</c:v>
                </c:pt>
                <c:pt idx="186">
                  <c:v>10</c:v>
                </c:pt>
                <c:pt idx="187">
                  <c:v>10</c:v>
                </c:pt>
                <c:pt idx="188">
                  <c:v>10</c:v>
                </c:pt>
                <c:pt idx="189">
                  <c:v>10</c:v>
                </c:pt>
                <c:pt idx="190">
                  <c:v>10</c:v>
                </c:pt>
                <c:pt idx="191">
                  <c:v>10</c:v>
                </c:pt>
                <c:pt idx="192">
                  <c:v>10</c:v>
                </c:pt>
                <c:pt idx="193">
                  <c:v>10</c:v>
                </c:pt>
                <c:pt idx="194">
                  <c:v>10</c:v>
                </c:pt>
                <c:pt idx="195">
                  <c:v>10</c:v>
                </c:pt>
                <c:pt idx="196">
                  <c:v>10</c:v>
                </c:pt>
                <c:pt idx="197">
                  <c:v>10</c:v>
                </c:pt>
                <c:pt idx="198">
                  <c:v>10</c:v>
                </c:pt>
                <c:pt idx="199">
                  <c:v>10</c:v>
                </c:pt>
                <c:pt idx="200">
                  <c:v>11</c:v>
                </c:pt>
                <c:pt idx="201">
                  <c:v>11</c:v>
                </c:pt>
                <c:pt idx="202">
                  <c:v>11</c:v>
                </c:pt>
                <c:pt idx="203">
                  <c:v>11</c:v>
                </c:pt>
                <c:pt idx="204">
                  <c:v>11</c:v>
                </c:pt>
                <c:pt idx="205">
                  <c:v>11</c:v>
                </c:pt>
                <c:pt idx="206">
                  <c:v>11</c:v>
                </c:pt>
                <c:pt idx="207">
                  <c:v>11</c:v>
                </c:pt>
                <c:pt idx="208">
                  <c:v>11</c:v>
                </c:pt>
                <c:pt idx="209">
                  <c:v>11</c:v>
                </c:pt>
                <c:pt idx="210">
                  <c:v>11</c:v>
                </c:pt>
                <c:pt idx="211">
                  <c:v>11</c:v>
                </c:pt>
                <c:pt idx="212">
                  <c:v>11</c:v>
                </c:pt>
                <c:pt idx="213">
                  <c:v>11</c:v>
                </c:pt>
                <c:pt idx="214">
                  <c:v>11</c:v>
                </c:pt>
                <c:pt idx="215">
                  <c:v>11</c:v>
                </c:pt>
                <c:pt idx="216">
                  <c:v>11</c:v>
                </c:pt>
                <c:pt idx="217">
                  <c:v>11</c:v>
                </c:pt>
                <c:pt idx="218">
                  <c:v>11</c:v>
                </c:pt>
                <c:pt idx="219">
                  <c:v>11</c:v>
                </c:pt>
                <c:pt idx="220">
                  <c:v>12</c:v>
                </c:pt>
                <c:pt idx="221">
                  <c:v>12</c:v>
                </c:pt>
                <c:pt idx="222">
                  <c:v>12</c:v>
                </c:pt>
                <c:pt idx="223">
                  <c:v>12</c:v>
                </c:pt>
                <c:pt idx="224">
                  <c:v>12</c:v>
                </c:pt>
                <c:pt idx="225">
                  <c:v>12</c:v>
                </c:pt>
                <c:pt idx="226">
                  <c:v>12</c:v>
                </c:pt>
                <c:pt idx="227">
                  <c:v>12</c:v>
                </c:pt>
                <c:pt idx="228">
                  <c:v>12</c:v>
                </c:pt>
                <c:pt idx="229">
                  <c:v>12</c:v>
                </c:pt>
                <c:pt idx="230">
                  <c:v>12</c:v>
                </c:pt>
                <c:pt idx="231">
                  <c:v>12</c:v>
                </c:pt>
                <c:pt idx="232">
                  <c:v>12</c:v>
                </c:pt>
                <c:pt idx="233">
                  <c:v>12</c:v>
                </c:pt>
                <c:pt idx="234">
                  <c:v>12</c:v>
                </c:pt>
                <c:pt idx="235">
                  <c:v>12</c:v>
                </c:pt>
                <c:pt idx="236">
                  <c:v>12</c:v>
                </c:pt>
                <c:pt idx="237">
                  <c:v>12</c:v>
                </c:pt>
                <c:pt idx="238">
                  <c:v>12</c:v>
                </c:pt>
                <c:pt idx="239">
                  <c:v>12</c:v>
                </c:pt>
              </c:numCache>
            </c:numRef>
          </c:xVal>
          <c:yVal>
            <c:numRef>
              <c:f>'D0 - Promotions'!$CM$6:$CM$245</c:f>
              <c:numCache>
                <c:formatCode>General</c:formatCode>
                <c:ptCount val="240"/>
                <c:pt idx="0" formatCode="&quot;€&quot;#,##0.00_);[Red]\(&quot;€&quot;#,##0.00\)">
                  <c:v>25.65</c:v>
                </c:pt>
                <c:pt idx="1">
                  <c:v>26.3</c:v>
                </c:pt>
                <c:pt idx="2">
                  <c:v>26.95</c:v>
                </c:pt>
                <c:pt idx="3">
                  <c:v>27.6</c:v>
                </c:pt>
                <c:pt idx="4">
                  <c:v>28.25</c:v>
                </c:pt>
                <c:pt idx="5">
                  <c:v>28.9</c:v>
                </c:pt>
                <c:pt idx="6">
                  <c:v>29.55</c:v>
                </c:pt>
                <c:pt idx="7">
                  <c:v>30.2</c:v>
                </c:pt>
                <c:pt idx="8">
                  <c:v>30.85</c:v>
                </c:pt>
                <c:pt idx="9">
                  <c:v>31.5</c:v>
                </c:pt>
                <c:pt idx="10">
                  <c:v>32.15</c:v>
                </c:pt>
                <c:pt idx="11">
                  <c:v>32.799999999999997</c:v>
                </c:pt>
                <c:pt idx="12">
                  <c:v>33.450000000000003</c:v>
                </c:pt>
                <c:pt idx="13">
                  <c:v>34.1</c:v>
                </c:pt>
                <c:pt idx="14">
                  <c:v>34.75</c:v>
                </c:pt>
                <c:pt idx="15">
                  <c:v>35.4</c:v>
                </c:pt>
                <c:pt idx="16">
                  <c:v>36.049999999999997</c:v>
                </c:pt>
                <c:pt idx="17">
                  <c:v>36.700000000000003</c:v>
                </c:pt>
                <c:pt idx="18">
                  <c:v>37.35</c:v>
                </c:pt>
                <c:pt idx="19">
                  <c:v>38</c:v>
                </c:pt>
                <c:pt idx="20">
                  <c:v>25.65</c:v>
                </c:pt>
                <c:pt idx="21">
                  <c:v>26.3</c:v>
                </c:pt>
                <c:pt idx="22">
                  <c:v>26.950000000000003</c:v>
                </c:pt>
                <c:pt idx="23">
                  <c:v>27.599999999999998</c:v>
                </c:pt>
                <c:pt idx="24">
                  <c:v>28.25</c:v>
                </c:pt>
                <c:pt idx="25">
                  <c:v>28.9</c:v>
                </c:pt>
                <c:pt idx="26">
                  <c:v>29.55</c:v>
                </c:pt>
                <c:pt idx="27">
                  <c:v>30.200000000000003</c:v>
                </c:pt>
                <c:pt idx="28">
                  <c:v>30.849999999999998</c:v>
                </c:pt>
                <c:pt idx="29">
                  <c:v>31.5</c:v>
                </c:pt>
                <c:pt idx="30">
                  <c:v>32.15</c:v>
                </c:pt>
                <c:pt idx="31">
                  <c:v>32.799999999999997</c:v>
                </c:pt>
                <c:pt idx="32">
                  <c:v>33.450000000000003</c:v>
                </c:pt>
                <c:pt idx="33">
                  <c:v>34.099999999999994</c:v>
                </c:pt>
                <c:pt idx="34">
                  <c:v>34.75</c:v>
                </c:pt>
                <c:pt idx="35">
                  <c:v>35.4</c:v>
                </c:pt>
                <c:pt idx="36">
                  <c:v>36.049999999999997</c:v>
                </c:pt>
                <c:pt idx="37">
                  <c:v>36.700000000000003</c:v>
                </c:pt>
                <c:pt idx="38">
                  <c:v>37.35</c:v>
                </c:pt>
                <c:pt idx="39">
                  <c:v>38</c:v>
                </c:pt>
                <c:pt idx="40">
                  <c:v>25.65</c:v>
                </c:pt>
                <c:pt idx="41">
                  <c:v>26.299999999999997</c:v>
                </c:pt>
                <c:pt idx="42">
                  <c:v>26.950000000000003</c:v>
                </c:pt>
                <c:pt idx="43">
                  <c:v>27.599999999999998</c:v>
                </c:pt>
                <c:pt idx="44">
                  <c:v>28.250000000000004</c:v>
                </c:pt>
                <c:pt idx="45">
                  <c:v>28.9</c:v>
                </c:pt>
                <c:pt idx="46">
                  <c:v>29.549999999999997</c:v>
                </c:pt>
                <c:pt idx="47">
                  <c:v>30.200000000000003</c:v>
                </c:pt>
                <c:pt idx="48">
                  <c:v>30.849999999999998</c:v>
                </c:pt>
                <c:pt idx="49">
                  <c:v>31.500000000000004</c:v>
                </c:pt>
                <c:pt idx="50">
                  <c:v>32.15</c:v>
                </c:pt>
                <c:pt idx="51">
                  <c:v>32.799999999999997</c:v>
                </c:pt>
                <c:pt idx="52">
                  <c:v>33.450000000000003</c:v>
                </c:pt>
                <c:pt idx="53">
                  <c:v>34.099999999999994</c:v>
                </c:pt>
                <c:pt idx="54">
                  <c:v>34.75</c:v>
                </c:pt>
                <c:pt idx="55">
                  <c:v>35.4</c:v>
                </c:pt>
                <c:pt idx="56">
                  <c:v>36.049999999999997</c:v>
                </c:pt>
                <c:pt idx="57">
                  <c:v>36.700000000000003</c:v>
                </c:pt>
                <c:pt idx="58">
                  <c:v>37.35</c:v>
                </c:pt>
                <c:pt idx="59">
                  <c:v>38</c:v>
                </c:pt>
                <c:pt idx="60">
                  <c:v>25.65</c:v>
                </c:pt>
                <c:pt idx="61">
                  <c:v>26.299999999999997</c:v>
                </c:pt>
                <c:pt idx="62">
                  <c:v>26.950000000000003</c:v>
                </c:pt>
                <c:pt idx="63">
                  <c:v>27.599999999999998</c:v>
                </c:pt>
                <c:pt idx="64">
                  <c:v>28.250000000000004</c:v>
                </c:pt>
                <c:pt idx="65">
                  <c:v>28.9</c:v>
                </c:pt>
                <c:pt idx="66">
                  <c:v>29.549999999999997</c:v>
                </c:pt>
                <c:pt idx="67">
                  <c:v>30.200000000000003</c:v>
                </c:pt>
                <c:pt idx="68">
                  <c:v>30.849999999999998</c:v>
                </c:pt>
                <c:pt idx="69">
                  <c:v>31.500000000000004</c:v>
                </c:pt>
                <c:pt idx="70">
                  <c:v>32.15</c:v>
                </c:pt>
                <c:pt idx="71">
                  <c:v>32.799999999999997</c:v>
                </c:pt>
                <c:pt idx="72">
                  <c:v>33.450000000000003</c:v>
                </c:pt>
                <c:pt idx="73">
                  <c:v>34.099999999999994</c:v>
                </c:pt>
                <c:pt idx="74">
                  <c:v>34.75</c:v>
                </c:pt>
                <c:pt idx="75">
                  <c:v>35.4</c:v>
                </c:pt>
                <c:pt idx="76">
                  <c:v>36.049999999999997</c:v>
                </c:pt>
                <c:pt idx="77">
                  <c:v>36.700000000000003</c:v>
                </c:pt>
                <c:pt idx="78">
                  <c:v>37.35</c:v>
                </c:pt>
                <c:pt idx="79">
                  <c:v>38</c:v>
                </c:pt>
                <c:pt idx="80">
                  <c:v>25.65</c:v>
                </c:pt>
                <c:pt idx="81">
                  <c:v>26.299999999999997</c:v>
                </c:pt>
                <c:pt idx="82">
                  <c:v>26.949999999999996</c:v>
                </c:pt>
                <c:pt idx="83">
                  <c:v>27.600000000000005</c:v>
                </c:pt>
                <c:pt idx="84">
                  <c:v>28.250000000000004</c:v>
                </c:pt>
                <c:pt idx="85">
                  <c:v>28.9</c:v>
                </c:pt>
                <c:pt idx="86">
                  <c:v>29.549999999999997</c:v>
                </c:pt>
                <c:pt idx="87">
                  <c:v>30.199999999999996</c:v>
                </c:pt>
                <c:pt idx="88">
                  <c:v>30.850000000000005</c:v>
                </c:pt>
                <c:pt idx="89">
                  <c:v>31.500000000000004</c:v>
                </c:pt>
                <c:pt idx="90">
                  <c:v>32.15</c:v>
                </c:pt>
                <c:pt idx="91">
                  <c:v>32.799999999999997</c:v>
                </c:pt>
                <c:pt idx="92">
                  <c:v>33.449999999999996</c:v>
                </c:pt>
                <c:pt idx="93">
                  <c:v>34.100000000000009</c:v>
                </c:pt>
                <c:pt idx="94">
                  <c:v>34.75</c:v>
                </c:pt>
                <c:pt idx="95">
                  <c:v>35.4</c:v>
                </c:pt>
                <c:pt idx="96">
                  <c:v>36.049999999999997</c:v>
                </c:pt>
                <c:pt idx="97">
                  <c:v>36.699999999999996</c:v>
                </c:pt>
                <c:pt idx="98">
                  <c:v>37.350000000000009</c:v>
                </c:pt>
                <c:pt idx="99">
                  <c:v>38</c:v>
                </c:pt>
                <c:pt idx="100">
                  <c:v>25.65</c:v>
                </c:pt>
                <c:pt idx="101">
                  <c:v>26.299999999999997</c:v>
                </c:pt>
                <c:pt idx="102">
                  <c:v>26.949999999999996</c:v>
                </c:pt>
                <c:pt idx="103">
                  <c:v>27.600000000000005</c:v>
                </c:pt>
                <c:pt idx="104">
                  <c:v>28.250000000000004</c:v>
                </c:pt>
                <c:pt idx="105">
                  <c:v>28.9</c:v>
                </c:pt>
                <c:pt idx="106">
                  <c:v>29.549999999999997</c:v>
                </c:pt>
                <c:pt idx="107">
                  <c:v>30.199999999999996</c:v>
                </c:pt>
                <c:pt idx="108">
                  <c:v>30.850000000000005</c:v>
                </c:pt>
                <c:pt idx="109">
                  <c:v>31.500000000000004</c:v>
                </c:pt>
                <c:pt idx="110">
                  <c:v>32.15</c:v>
                </c:pt>
                <c:pt idx="111">
                  <c:v>32.799999999999997</c:v>
                </c:pt>
                <c:pt idx="112">
                  <c:v>33.449999999999996</c:v>
                </c:pt>
                <c:pt idx="113">
                  <c:v>34.100000000000009</c:v>
                </c:pt>
                <c:pt idx="114">
                  <c:v>34.75</c:v>
                </c:pt>
                <c:pt idx="115">
                  <c:v>35.4</c:v>
                </c:pt>
                <c:pt idx="116">
                  <c:v>36.049999999999997</c:v>
                </c:pt>
                <c:pt idx="117">
                  <c:v>36.699999999999996</c:v>
                </c:pt>
                <c:pt idx="118">
                  <c:v>37.350000000000009</c:v>
                </c:pt>
                <c:pt idx="119">
                  <c:v>38</c:v>
                </c:pt>
                <c:pt idx="120">
                  <c:v>25.65</c:v>
                </c:pt>
                <c:pt idx="121">
                  <c:v>26.299999999999997</c:v>
                </c:pt>
                <c:pt idx="122">
                  <c:v>26.949999999999996</c:v>
                </c:pt>
                <c:pt idx="123">
                  <c:v>27.600000000000005</c:v>
                </c:pt>
                <c:pt idx="124">
                  <c:v>28.250000000000004</c:v>
                </c:pt>
                <c:pt idx="125">
                  <c:v>28.9</c:v>
                </c:pt>
                <c:pt idx="126">
                  <c:v>29.549999999999997</c:v>
                </c:pt>
                <c:pt idx="127">
                  <c:v>30.199999999999996</c:v>
                </c:pt>
                <c:pt idx="128">
                  <c:v>30.850000000000005</c:v>
                </c:pt>
                <c:pt idx="129">
                  <c:v>31.500000000000004</c:v>
                </c:pt>
                <c:pt idx="130">
                  <c:v>32.15</c:v>
                </c:pt>
                <c:pt idx="131">
                  <c:v>32.799999999999997</c:v>
                </c:pt>
                <c:pt idx="132">
                  <c:v>33.449999999999996</c:v>
                </c:pt>
                <c:pt idx="133">
                  <c:v>34.100000000000009</c:v>
                </c:pt>
                <c:pt idx="134">
                  <c:v>34.75</c:v>
                </c:pt>
                <c:pt idx="135">
                  <c:v>35.4</c:v>
                </c:pt>
                <c:pt idx="136">
                  <c:v>36.049999999999997</c:v>
                </c:pt>
                <c:pt idx="137">
                  <c:v>36.699999999999996</c:v>
                </c:pt>
                <c:pt idx="138">
                  <c:v>37.350000000000009</c:v>
                </c:pt>
                <c:pt idx="139">
                  <c:v>38</c:v>
                </c:pt>
                <c:pt idx="140">
                  <c:v>25.65</c:v>
                </c:pt>
                <c:pt idx="141">
                  <c:v>26.299999999999997</c:v>
                </c:pt>
                <c:pt idx="142">
                  <c:v>26.949999999999996</c:v>
                </c:pt>
                <c:pt idx="143">
                  <c:v>27.600000000000005</c:v>
                </c:pt>
                <c:pt idx="144">
                  <c:v>28.250000000000004</c:v>
                </c:pt>
                <c:pt idx="145">
                  <c:v>28.9</c:v>
                </c:pt>
                <c:pt idx="146">
                  <c:v>29.549999999999997</c:v>
                </c:pt>
                <c:pt idx="147">
                  <c:v>30.199999999999996</c:v>
                </c:pt>
                <c:pt idx="148">
                  <c:v>30.850000000000005</c:v>
                </c:pt>
                <c:pt idx="149">
                  <c:v>31.500000000000004</c:v>
                </c:pt>
                <c:pt idx="150">
                  <c:v>32.15</c:v>
                </c:pt>
                <c:pt idx="151">
                  <c:v>32.799999999999997</c:v>
                </c:pt>
                <c:pt idx="152">
                  <c:v>33.449999999999996</c:v>
                </c:pt>
                <c:pt idx="153">
                  <c:v>34.100000000000009</c:v>
                </c:pt>
                <c:pt idx="154">
                  <c:v>34.75</c:v>
                </c:pt>
                <c:pt idx="155">
                  <c:v>35.4</c:v>
                </c:pt>
                <c:pt idx="156">
                  <c:v>36.049999999999997</c:v>
                </c:pt>
                <c:pt idx="157">
                  <c:v>36.699999999999996</c:v>
                </c:pt>
                <c:pt idx="158">
                  <c:v>37.350000000000009</c:v>
                </c:pt>
                <c:pt idx="159">
                  <c:v>38</c:v>
                </c:pt>
                <c:pt idx="160">
                  <c:v>25.65</c:v>
                </c:pt>
                <c:pt idx="161">
                  <c:v>26.300000000000008</c:v>
                </c:pt>
                <c:pt idx="162">
                  <c:v>26.949999999999996</c:v>
                </c:pt>
                <c:pt idx="163">
                  <c:v>27.600000000000005</c:v>
                </c:pt>
                <c:pt idx="164">
                  <c:v>28.249999999999989</c:v>
                </c:pt>
                <c:pt idx="165">
                  <c:v>28.9</c:v>
                </c:pt>
                <c:pt idx="166">
                  <c:v>29.550000000000011</c:v>
                </c:pt>
                <c:pt idx="167">
                  <c:v>30.199999999999996</c:v>
                </c:pt>
                <c:pt idx="168">
                  <c:v>30.850000000000005</c:v>
                </c:pt>
                <c:pt idx="169">
                  <c:v>31.499999999999993</c:v>
                </c:pt>
                <c:pt idx="170">
                  <c:v>32.15</c:v>
                </c:pt>
                <c:pt idx="171">
                  <c:v>32.800000000000011</c:v>
                </c:pt>
                <c:pt idx="172">
                  <c:v>33.449999999999996</c:v>
                </c:pt>
                <c:pt idx="173">
                  <c:v>34.100000000000009</c:v>
                </c:pt>
                <c:pt idx="174">
                  <c:v>34.749999999999993</c:v>
                </c:pt>
                <c:pt idx="175">
                  <c:v>35.4</c:v>
                </c:pt>
                <c:pt idx="176">
                  <c:v>36.050000000000011</c:v>
                </c:pt>
                <c:pt idx="177">
                  <c:v>36.699999999999996</c:v>
                </c:pt>
                <c:pt idx="178">
                  <c:v>37.350000000000009</c:v>
                </c:pt>
                <c:pt idx="179">
                  <c:v>37.999999999999993</c:v>
                </c:pt>
                <c:pt idx="180">
                  <c:v>25.65</c:v>
                </c:pt>
                <c:pt idx="181">
                  <c:v>26.300000000000008</c:v>
                </c:pt>
                <c:pt idx="182">
                  <c:v>26.949999999999996</c:v>
                </c:pt>
                <c:pt idx="183">
                  <c:v>27.600000000000005</c:v>
                </c:pt>
                <c:pt idx="184">
                  <c:v>28.249999999999989</c:v>
                </c:pt>
                <c:pt idx="185">
                  <c:v>28.9</c:v>
                </c:pt>
                <c:pt idx="186">
                  <c:v>29.550000000000011</c:v>
                </c:pt>
                <c:pt idx="187">
                  <c:v>30.199999999999996</c:v>
                </c:pt>
                <c:pt idx="188">
                  <c:v>30.850000000000005</c:v>
                </c:pt>
                <c:pt idx="189">
                  <c:v>31.499999999999993</c:v>
                </c:pt>
                <c:pt idx="190">
                  <c:v>32.15</c:v>
                </c:pt>
                <c:pt idx="191">
                  <c:v>32.800000000000011</c:v>
                </c:pt>
                <c:pt idx="192">
                  <c:v>33.449999999999996</c:v>
                </c:pt>
                <c:pt idx="193">
                  <c:v>34.100000000000009</c:v>
                </c:pt>
                <c:pt idx="194">
                  <c:v>34.749999999999993</c:v>
                </c:pt>
                <c:pt idx="195">
                  <c:v>35.4</c:v>
                </c:pt>
                <c:pt idx="196">
                  <c:v>36.050000000000011</c:v>
                </c:pt>
                <c:pt idx="197">
                  <c:v>36.699999999999996</c:v>
                </c:pt>
                <c:pt idx="198">
                  <c:v>37.350000000000009</c:v>
                </c:pt>
                <c:pt idx="199">
                  <c:v>37.999999999999993</c:v>
                </c:pt>
                <c:pt idx="200">
                  <c:v>25.65</c:v>
                </c:pt>
                <c:pt idx="201">
                  <c:v>26.300000000000008</c:v>
                </c:pt>
                <c:pt idx="202">
                  <c:v>26.949999999999996</c:v>
                </c:pt>
                <c:pt idx="203">
                  <c:v>27.600000000000005</c:v>
                </c:pt>
                <c:pt idx="204">
                  <c:v>28.249999999999989</c:v>
                </c:pt>
                <c:pt idx="205">
                  <c:v>28.9</c:v>
                </c:pt>
                <c:pt idx="206">
                  <c:v>29.550000000000011</c:v>
                </c:pt>
                <c:pt idx="207">
                  <c:v>30.199999999999996</c:v>
                </c:pt>
                <c:pt idx="208">
                  <c:v>30.850000000000005</c:v>
                </c:pt>
                <c:pt idx="209">
                  <c:v>31.499999999999993</c:v>
                </c:pt>
                <c:pt idx="210">
                  <c:v>32.15</c:v>
                </c:pt>
                <c:pt idx="211">
                  <c:v>32.800000000000011</c:v>
                </c:pt>
                <c:pt idx="212">
                  <c:v>33.449999999999996</c:v>
                </c:pt>
                <c:pt idx="213">
                  <c:v>34.100000000000009</c:v>
                </c:pt>
                <c:pt idx="214">
                  <c:v>34.749999999999993</c:v>
                </c:pt>
                <c:pt idx="215">
                  <c:v>35.4</c:v>
                </c:pt>
                <c:pt idx="216">
                  <c:v>36.050000000000011</c:v>
                </c:pt>
                <c:pt idx="217">
                  <c:v>36.699999999999996</c:v>
                </c:pt>
                <c:pt idx="218">
                  <c:v>37.350000000000009</c:v>
                </c:pt>
                <c:pt idx="219">
                  <c:v>37.999999999999993</c:v>
                </c:pt>
                <c:pt idx="220">
                  <c:v>25.65</c:v>
                </c:pt>
                <c:pt idx="221">
                  <c:v>26.300000000000008</c:v>
                </c:pt>
                <c:pt idx="222">
                  <c:v>26.949999999999996</c:v>
                </c:pt>
                <c:pt idx="223">
                  <c:v>27.600000000000005</c:v>
                </c:pt>
                <c:pt idx="224">
                  <c:v>28.249999999999989</c:v>
                </c:pt>
                <c:pt idx="225">
                  <c:v>28.9</c:v>
                </c:pt>
                <c:pt idx="226">
                  <c:v>29.550000000000011</c:v>
                </c:pt>
                <c:pt idx="227">
                  <c:v>30.199999999999996</c:v>
                </c:pt>
                <c:pt idx="228">
                  <c:v>30.850000000000005</c:v>
                </c:pt>
                <c:pt idx="229">
                  <c:v>31.499999999999993</c:v>
                </c:pt>
                <c:pt idx="230">
                  <c:v>32.15</c:v>
                </c:pt>
                <c:pt idx="231">
                  <c:v>32.800000000000011</c:v>
                </c:pt>
                <c:pt idx="232">
                  <c:v>33.449999999999996</c:v>
                </c:pt>
                <c:pt idx="233">
                  <c:v>34.100000000000009</c:v>
                </c:pt>
                <c:pt idx="234">
                  <c:v>34.749999999999993</c:v>
                </c:pt>
                <c:pt idx="235">
                  <c:v>35.4</c:v>
                </c:pt>
                <c:pt idx="236">
                  <c:v>36.050000000000011</c:v>
                </c:pt>
                <c:pt idx="237">
                  <c:v>36.699999999999996</c:v>
                </c:pt>
                <c:pt idx="238">
                  <c:v>37.350000000000009</c:v>
                </c:pt>
                <c:pt idx="239">
                  <c:v>37.999999999999993</c:v>
                </c:pt>
              </c:numCache>
            </c:numRef>
          </c:yVal>
          <c:bubbleSize>
            <c:numRef>
              <c:f>'D0 - Promotions'!$CN$6:$CN$245</c:f>
              <c:numCache>
                <c:formatCode>0%</c:formatCode>
                <c:ptCount val="240"/>
                <c:pt idx="0">
                  <c:v>8.3333333333333332E-3</c:v>
                </c:pt>
                <c:pt idx="1">
                  <c:v>4.7619047619047623E-3</c:v>
                </c:pt>
                <c:pt idx="2">
                  <c:v>1.1904761904761906E-3</c:v>
                </c:pt>
                <c:pt idx="3">
                  <c:v>0.57499999999999996</c:v>
                </c:pt>
                <c:pt idx="4">
                  <c:v>0.17142857142857143</c:v>
                </c:pt>
                <c:pt idx="5">
                  <c:v>0.10238095238095238</c:v>
                </c:pt>
                <c:pt idx="6">
                  <c:v>0.05</c:v>
                </c:pt>
                <c:pt idx="7">
                  <c:v>2.976190476190476E-2</c:v>
                </c:pt>
                <c:pt idx="8">
                  <c:v>3.3333333333333333E-2</c:v>
                </c:pt>
                <c:pt idx="9">
                  <c:v>9.5238095238095247E-3</c:v>
                </c:pt>
                <c:pt idx="10">
                  <c:v>7.1428571428571426E-3</c:v>
                </c:pt>
                <c:pt idx="11">
                  <c:v>0</c:v>
                </c:pt>
                <c:pt idx="12">
                  <c:v>1.1904761904761906E-3</c:v>
                </c:pt>
                <c:pt idx="13">
                  <c:v>2.3809523809523812E-3</c:v>
                </c:pt>
                <c:pt idx="14">
                  <c:v>1.1904761904761906E-3</c:v>
                </c:pt>
                <c:pt idx="15">
                  <c:v>0</c:v>
                </c:pt>
                <c:pt idx="16">
                  <c:v>1.1904761904761906E-3</c:v>
                </c:pt>
                <c:pt idx="17">
                  <c:v>0</c:v>
                </c:pt>
                <c:pt idx="18">
                  <c:v>1.1904761904761906E-3</c:v>
                </c:pt>
                <c:pt idx="19">
                  <c:v>0</c:v>
                </c:pt>
                <c:pt idx="20">
                  <c:v>1.0638297872340425E-2</c:v>
                </c:pt>
                <c:pt idx="21">
                  <c:v>4.7281323877068557E-3</c:v>
                </c:pt>
                <c:pt idx="22">
                  <c:v>1.1820330969267139E-3</c:v>
                </c:pt>
                <c:pt idx="23">
                  <c:v>0.56619385342789597</c:v>
                </c:pt>
                <c:pt idx="24">
                  <c:v>0.17375886524822695</c:v>
                </c:pt>
                <c:pt idx="25">
                  <c:v>0.10047281323877069</c:v>
                </c:pt>
                <c:pt idx="26">
                  <c:v>5.0827423167848697E-2</c:v>
                </c:pt>
                <c:pt idx="27">
                  <c:v>3.0732860520094562E-2</c:v>
                </c:pt>
                <c:pt idx="28">
                  <c:v>3.5460992907801421E-2</c:v>
                </c:pt>
                <c:pt idx="29">
                  <c:v>9.4562647754137114E-3</c:v>
                </c:pt>
                <c:pt idx="30">
                  <c:v>8.2742316784869974E-3</c:v>
                </c:pt>
                <c:pt idx="31">
                  <c:v>0</c:v>
                </c:pt>
                <c:pt idx="32">
                  <c:v>1.1820330969267139E-3</c:v>
                </c:pt>
                <c:pt idx="33">
                  <c:v>2.3640661938534278E-3</c:v>
                </c:pt>
                <c:pt idx="34">
                  <c:v>1.1820330969267139E-3</c:v>
                </c:pt>
                <c:pt idx="35">
                  <c:v>0</c:v>
                </c:pt>
                <c:pt idx="36">
                  <c:v>1.1820330969267139E-3</c:v>
                </c:pt>
                <c:pt idx="37">
                  <c:v>0</c:v>
                </c:pt>
                <c:pt idx="38">
                  <c:v>1.1820330969267139E-3</c:v>
                </c:pt>
                <c:pt idx="39">
                  <c:v>0</c:v>
                </c:pt>
                <c:pt idx="40">
                  <c:v>7.0339976553341153E-3</c:v>
                </c:pt>
                <c:pt idx="41">
                  <c:v>4.6893317702227429E-3</c:v>
                </c:pt>
                <c:pt idx="42">
                  <c:v>1.1723329425556857E-3</c:v>
                </c:pt>
                <c:pt idx="43">
                  <c:v>0.65650644783118406</c:v>
                </c:pt>
                <c:pt idx="44">
                  <c:v>0.123094958968347</c:v>
                </c:pt>
                <c:pt idx="45">
                  <c:v>8.792497069167643E-2</c:v>
                </c:pt>
                <c:pt idx="46">
                  <c:v>3.8686987104337635E-2</c:v>
                </c:pt>
                <c:pt idx="47">
                  <c:v>3.048065650644783E-2</c:v>
                </c:pt>
                <c:pt idx="48">
                  <c:v>2.5791324736225089E-2</c:v>
                </c:pt>
                <c:pt idx="49">
                  <c:v>1.0550996483001172E-2</c:v>
                </c:pt>
                <c:pt idx="50">
                  <c:v>8.2063305978898014E-3</c:v>
                </c:pt>
                <c:pt idx="51">
                  <c:v>0</c:v>
                </c:pt>
                <c:pt idx="52">
                  <c:v>1.1723329425556857E-3</c:v>
                </c:pt>
                <c:pt idx="53">
                  <c:v>2.3446658851113715E-3</c:v>
                </c:pt>
                <c:pt idx="54">
                  <c:v>1.1723329425556857E-3</c:v>
                </c:pt>
                <c:pt idx="55">
                  <c:v>0</c:v>
                </c:pt>
                <c:pt idx="56">
                  <c:v>1.1723329425556857E-3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7.1343638525564806E-3</c:v>
                </c:pt>
                <c:pt idx="61">
                  <c:v>3.5671819262782403E-3</c:v>
                </c:pt>
                <c:pt idx="62">
                  <c:v>1.1890606420927466E-3</c:v>
                </c:pt>
                <c:pt idx="63">
                  <c:v>0.6504161712247325</c:v>
                </c:pt>
                <c:pt idx="64">
                  <c:v>0.12604042806183116</c:v>
                </c:pt>
                <c:pt idx="65">
                  <c:v>8.0856123662306781E-2</c:v>
                </c:pt>
                <c:pt idx="66">
                  <c:v>4.2806183115338882E-2</c:v>
                </c:pt>
                <c:pt idx="67">
                  <c:v>3.2104637336504163E-2</c:v>
                </c:pt>
                <c:pt idx="68">
                  <c:v>2.9726516052318668E-2</c:v>
                </c:pt>
                <c:pt idx="69">
                  <c:v>1.1890606420927468E-2</c:v>
                </c:pt>
                <c:pt idx="70">
                  <c:v>7.1343638525564806E-3</c:v>
                </c:pt>
                <c:pt idx="71">
                  <c:v>1.1890606420927466E-3</c:v>
                </c:pt>
                <c:pt idx="72">
                  <c:v>1.1890606420927466E-3</c:v>
                </c:pt>
                <c:pt idx="73">
                  <c:v>2.3781212841854932E-3</c:v>
                </c:pt>
                <c:pt idx="74">
                  <c:v>1.1890606420927466E-3</c:v>
                </c:pt>
                <c:pt idx="75">
                  <c:v>0</c:v>
                </c:pt>
                <c:pt idx="76">
                  <c:v>1.1890606420927466E-3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9.4562647754137114E-3</c:v>
                </c:pt>
                <c:pt idx="81">
                  <c:v>5.9101654846335696E-3</c:v>
                </c:pt>
                <c:pt idx="82">
                  <c:v>2.3640661938534278E-3</c:v>
                </c:pt>
                <c:pt idx="83">
                  <c:v>0.55673758865248224</c:v>
                </c:pt>
                <c:pt idx="84">
                  <c:v>0.16666666666666666</c:v>
                </c:pt>
                <c:pt idx="85">
                  <c:v>0.10047281323877069</c:v>
                </c:pt>
                <c:pt idx="86">
                  <c:v>5.4373522458628844E-2</c:v>
                </c:pt>
                <c:pt idx="87">
                  <c:v>3.7825059101654845E-2</c:v>
                </c:pt>
                <c:pt idx="88">
                  <c:v>3.664302600472813E-2</c:v>
                </c:pt>
                <c:pt idx="89">
                  <c:v>1.3002364066193853E-2</c:v>
                </c:pt>
                <c:pt idx="90">
                  <c:v>8.2742316784869974E-3</c:v>
                </c:pt>
                <c:pt idx="91">
                  <c:v>1.1820330969267139E-3</c:v>
                </c:pt>
                <c:pt idx="92">
                  <c:v>1.1820330969267139E-3</c:v>
                </c:pt>
                <c:pt idx="93">
                  <c:v>2.3640661938534278E-3</c:v>
                </c:pt>
                <c:pt idx="94">
                  <c:v>1.1820330969267139E-3</c:v>
                </c:pt>
                <c:pt idx="95">
                  <c:v>0</c:v>
                </c:pt>
                <c:pt idx="96">
                  <c:v>1.1820330969267139E-3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6.2893081761006293E-3</c:v>
                </c:pt>
                <c:pt idx="101">
                  <c:v>5.2410901467505244E-3</c:v>
                </c:pt>
                <c:pt idx="102">
                  <c:v>2.0964360587002098E-3</c:v>
                </c:pt>
                <c:pt idx="103">
                  <c:v>0.5765199161425576</c:v>
                </c:pt>
                <c:pt idx="104">
                  <c:v>0.16876310272536688</c:v>
                </c:pt>
                <c:pt idx="105">
                  <c:v>9.9580712788259959E-2</c:v>
                </c:pt>
                <c:pt idx="106">
                  <c:v>5.0314465408805034E-2</c:v>
                </c:pt>
                <c:pt idx="107">
                  <c:v>3.1446540880503145E-2</c:v>
                </c:pt>
                <c:pt idx="108">
                  <c:v>3.2494758909853247E-2</c:v>
                </c:pt>
                <c:pt idx="109">
                  <c:v>1.0482180293501049E-2</c:v>
                </c:pt>
                <c:pt idx="110">
                  <c:v>9.433962264150943E-3</c:v>
                </c:pt>
                <c:pt idx="111">
                  <c:v>1.0482180293501049E-3</c:v>
                </c:pt>
                <c:pt idx="112">
                  <c:v>1.0482180293501049E-3</c:v>
                </c:pt>
                <c:pt idx="113">
                  <c:v>2.0964360587002098E-3</c:v>
                </c:pt>
                <c:pt idx="114">
                  <c:v>1.0482180293501049E-3</c:v>
                </c:pt>
                <c:pt idx="115">
                  <c:v>0</c:v>
                </c:pt>
                <c:pt idx="116">
                  <c:v>1.0482180293501049E-3</c:v>
                </c:pt>
                <c:pt idx="117">
                  <c:v>0</c:v>
                </c:pt>
                <c:pt idx="118">
                  <c:v>0</c:v>
                </c:pt>
                <c:pt idx="119">
                  <c:v>0</c:v>
                </c:pt>
                <c:pt idx="120">
                  <c:v>1.0121457489878543E-2</c:v>
                </c:pt>
                <c:pt idx="121">
                  <c:v>7.0850202429149798E-3</c:v>
                </c:pt>
                <c:pt idx="122">
                  <c:v>2.0242914979757085E-3</c:v>
                </c:pt>
                <c:pt idx="123">
                  <c:v>0.5748987854251012</c:v>
                </c:pt>
                <c:pt idx="124">
                  <c:v>0.16902834008097167</c:v>
                </c:pt>
                <c:pt idx="125">
                  <c:v>0.10526315789473684</c:v>
                </c:pt>
                <c:pt idx="126">
                  <c:v>4.5546558704453441E-2</c:v>
                </c:pt>
                <c:pt idx="127">
                  <c:v>2.7327935222672066E-2</c:v>
                </c:pt>
                <c:pt idx="128">
                  <c:v>3.137651821862348E-2</c:v>
                </c:pt>
                <c:pt idx="129">
                  <c:v>1.1133603238866396E-2</c:v>
                </c:pt>
                <c:pt idx="130">
                  <c:v>9.1093117408906875E-3</c:v>
                </c:pt>
                <c:pt idx="131">
                  <c:v>1.0121457489878543E-3</c:v>
                </c:pt>
                <c:pt idx="132">
                  <c:v>1.0121457489878543E-3</c:v>
                </c:pt>
                <c:pt idx="133">
                  <c:v>2.0242914979757085E-3</c:v>
                </c:pt>
                <c:pt idx="134">
                  <c:v>1.0121457489878543E-3</c:v>
                </c:pt>
                <c:pt idx="135">
                  <c:v>0</c:v>
                </c:pt>
                <c:pt idx="136">
                  <c:v>1.0121457489878543E-3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0">
                  <c:v>1.079913606911447E-2</c:v>
                </c:pt>
                <c:pt idx="141">
                  <c:v>5.3995680345572351E-3</c:v>
                </c:pt>
                <c:pt idx="142">
                  <c:v>1.0799136069114472E-3</c:v>
                </c:pt>
                <c:pt idx="143">
                  <c:v>0.74406047516198703</c:v>
                </c:pt>
                <c:pt idx="144">
                  <c:v>6.8034557235421164E-2</c:v>
                </c:pt>
                <c:pt idx="145">
                  <c:v>4.9676025917926567E-2</c:v>
                </c:pt>
                <c:pt idx="146">
                  <c:v>3.4557235421166309E-2</c:v>
                </c:pt>
                <c:pt idx="147">
                  <c:v>2.8077753779697623E-2</c:v>
                </c:pt>
                <c:pt idx="148">
                  <c:v>3.0237580993520519E-2</c:v>
                </c:pt>
                <c:pt idx="149">
                  <c:v>1.1879049676025918E-2</c:v>
                </c:pt>
                <c:pt idx="150">
                  <c:v>8.6393088552915772E-3</c:v>
                </c:pt>
                <c:pt idx="151">
                  <c:v>1.0799136069114472E-3</c:v>
                </c:pt>
                <c:pt idx="152">
                  <c:v>1.0799136069114472E-3</c:v>
                </c:pt>
                <c:pt idx="153">
                  <c:v>2.1598272138228943E-3</c:v>
                </c:pt>
                <c:pt idx="154">
                  <c:v>1.0799136069114472E-3</c:v>
                </c:pt>
                <c:pt idx="155">
                  <c:v>0</c:v>
                </c:pt>
                <c:pt idx="156">
                  <c:v>1.0799136069114472E-3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1.1574074074074073E-2</c:v>
                </c:pt>
                <c:pt idx="161">
                  <c:v>5.7870370370370367E-3</c:v>
                </c:pt>
                <c:pt idx="162">
                  <c:v>1.1574074074074073E-3</c:v>
                </c:pt>
                <c:pt idx="163">
                  <c:v>0.72453703703703709</c:v>
                </c:pt>
                <c:pt idx="164">
                  <c:v>7.1759259259259259E-2</c:v>
                </c:pt>
                <c:pt idx="165">
                  <c:v>5.3240740740740741E-2</c:v>
                </c:pt>
                <c:pt idx="166">
                  <c:v>3.8194444444444448E-2</c:v>
                </c:pt>
                <c:pt idx="167">
                  <c:v>3.2407407407407406E-2</c:v>
                </c:pt>
                <c:pt idx="168">
                  <c:v>3.2407407407407406E-2</c:v>
                </c:pt>
                <c:pt idx="169">
                  <c:v>1.1574074074074073E-2</c:v>
                </c:pt>
                <c:pt idx="170">
                  <c:v>9.2592592592592587E-3</c:v>
                </c:pt>
                <c:pt idx="171">
                  <c:v>1.1574074074074073E-3</c:v>
                </c:pt>
                <c:pt idx="172">
                  <c:v>1.1574074074074073E-3</c:v>
                </c:pt>
                <c:pt idx="173">
                  <c:v>2.3148148148148147E-3</c:v>
                </c:pt>
                <c:pt idx="174">
                  <c:v>1.1574074074074073E-3</c:v>
                </c:pt>
                <c:pt idx="175">
                  <c:v>0</c:v>
                </c:pt>
                <c:pt idx="176">
                  <c:v>1.1574074074074073E-3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1.0172939979654121E-2</c:v>
                </c:pt>
                <c:pt idx="181">
                  <c:v>5.0864699898270603E-3</c:v>
                </c:pt>
                <c:pt idx="182">
                  <c:v>1.017293997965412E-3</c:v>
                </c:pt>
                <c:pt idx="183">
                  <c:v>0.57884028484231942</c:v>
                </c:pt>
                <c:pt idx="184">
                  <c:v>0.17192268565615462</c:v>
                </c:pt>
                <c:pt idx="185">
                  <c:v>9.8677517802644971E-2</c:v>
                </c:pt>
                <c:pt idx="186">
                  <c:v>4.6795523906408953E-2</c:v>
                </c:pt>
                <c:pt idx="187">
                  <c:v>3.1536113936927769E-2</c:v>
                </c:pt>
                <c:pt idx="188">
                  <c:v>2.9501525940996948E-2</c:v>
                </c:pt>
                <c:pt idx="189">
                  <c:v>1.0172939979654121E-2</c:v>
                </c:pt>
                <c:pt idx="190">
                  <c:v>9.1556459816887082E-3</c:v>
                </c:pt>
                <c:pt idx="191">
                  <c:v>1.017293997965412E-3</c:v>
                </c:pt>
                <c:pt idx="192">
                  <c:v>1.017293997965412E-3</c:v>
                </c:pt>
                <c:pt idx="193">
                  <c:v>2.0345879959308239E-3</c:v>
                </c:pt>
                <c:pt idx="194">
                  <c:v>1.017293997965412E-3</c:v>
                </c:pt>
                <c:pt idx="195">
                  <c:v>0</c:v>
                </c:pt>
                <c:pt idx="196">
                  <c:v>1.017293997965412E-3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9.9601593625498006E-3</c:v>
                </c:pt>
                <c:pt idx="201">
                  <c:v>4.9800796812749003E-3</c:v>
                </c:pt>
                <c:pt idx="202">
                  <c:v>1.9920318725099601E-3</c:v>
                </c:pt>
                <c:pt idx="203">
                  <c:v>0.58067729083665343</c:v>
                </c:pt>
                <c:pt idx="204">
                  <c:v>0.1752988047808765</c:v>
                </c:pt>
                <c:pt idx="205">
                  <c:v>0.10159362549800798</c:v>
                </c:pt>
                <c:pt idx="206">
                  <c:v>4.4820717131474105E-2</c:v>
                </c:pt>
                <c:pt idx="207">
                  <c:v>2.7888446215139442E-2</c:v>
                </c:pt>
                <c:pt idx="208">
                  <c:v>2.9880478087649404E-2</c:v>
                </c:pt>
                <c:pt idx="209">
                  <c:v>7.9681274900398405E-3</c:v>
                </c:pt>
                <c:pt idx="210">
                  <c:v>7.9681274900398405E-3</c:v>
                </c:pt>
                <c:pt idx="211">
                  <c:v>9.9601593625498006E-4</c:v>
                </c:pt>
                <c:pt idx="212">
                  <c:v>9.9601593625498006E-4</c:v>
                </c:pt>
                <c:pt idx="213">
                  <c:v>1.9920318725099601E-3</c:v>
                </c:pt>
                <c:pt idx="214">
                  <c:v>9.9601593625498006E-4</c:v>
                </c:pt>
                <c:pt idx="215">
                  <c:v>0</c:v>
                </c:pt>
                <c:pt idx="216">
                  <c:v>9.9601593625498006E-4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1.1190233977619531E-2</c:v>
                </c:pt>
                <c:pt idx="221">
                  <c:v>5.0864699898270603E-3</c:v>
                </c:pt>
                <c:pt idx="222">
                  <c:v>2.0345879959308239E-3</c:v>
                </c:pt>
                <c:pt idx="223">
                  <c:v>0.57578840284842314</c:v>
                </c:pt>
                <c:pt idx="224">
                  <c:v>0.17395727365208546</c:v>
                </c:pt>
                <c:pt idx="225">
                  <c:v>0.10579857578840285</c:v>
                </c:pt>
                <c:pt idx="226">
                  <c:v>4.4760935910478125E-2</c:v>
                </c:pt>
                <c:pt idx="227">
                  <c:v>2.6449643947100712E-2</c:v>
                </c:pt>
                <c:pt idx="228">
                  <c:v>2.7466937945066123E-2</c:v>
                </c:pt>
                <c:pt idx="229">
                  <c:v>1.1190233977619531E-2</c:v>
                </c:pt>
                <c:pt idx="230">
                  <c:v>8.1383519837232958E-3</c:v>
                </c:pt>
                <c:pt idx="231">
                  <c:v>1.017293997965412E-3</c:v>
                </c:pt>
                <c:pt idx="232">
                  <c:v>1.017293997965412E-3</c:v>
                </c:pt>
                <c:pt idx="233">
                  <c:v>2.0345879959308239E-3</c:v>
                </c:pt>
                <c:pt idx="234">
                  <c:v>1.017293997965412E-3</c:v>
                </c:pt>
                <c:pt idx="235">
                  <c:v>0</c:v>
                </c:pt>
                <c:pt idx="236">
                  <c:v>1.017293997965412E-3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0-1086-4B4C-BFB8-425DBE1CBA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20"/>
        <c:showNegBubbles val="0"/>
        <c:axId val="1658987535"/>
        <c:axId val="1658988015"/>
      </c:bubbleChart>
      <c:valAx>
        <c:axId val="1658987535"/>
        <c:scaling>
          <c:orientation val="minMax"/>
          <c:max val="13"/>
          <c:min val="0"/>
        </c:scaling>
        <c:delete val="1"/>
        <c:axPos val="b"/>
        <c:numFmt formatCode="General" sourceLinked="1"/>
        <c:majorTickMark val="none"/>
        <c:minorTickMark val="none"/>
        <c:tickLblPos val="nextTo"/>
        <c:crossAx val="1658988015"/>
        <c:crosses val="autoZero"/>
        <c:crossBetween val="midCat"/>
      </c:valAx>
      <c:valAx>
        <c:axId val="16589880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FR" b="1"/>
                  <a:t>Prix /L avant impot</a:t>
                </a:r>
              </a:p>
            </c:rich>
          </c:tx>
          <c:layout>
            <c:manualLayout>
              <c:xMode val="edge"/>
              <c:yMode val="edge"/>
              <c:x val="2.7594202697018263E-3"/>
              <c:y val="0.3049822241971704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#,##0&quot;€&quot;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658987535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/>
      </a:pPr>
      <a:endParaRPr lang="fr-FR"/>
    </a:p>
  </c:txPr>
  <c:externalData r:id="rId3">
    <c:autoUpdate val="1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2403286317403983E-2"/>
          <c:y val="3.4310766844797315E-2"/>
          <c:w val="0.8498689629352304"/>
          <c:h val="0.740812487499587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D0 - Promotions'!$CR$5</c:f>
              <c:strCache>
                <c:ptCount val="1"/>
                <c:pt idx="0">
                  <c:v>Promo %</c:v>
                </c:pt>
              </c:strCache>
            </c:strRef>
          </c:tx>
          <c:spPr>
            <a:solidFill>
              <a:srgbClr val="868A96">
                <a:alpha val="20000"/>
              </a:srgbClr>
            </a:solidFill>
            <a:ln>
              <a:noFill/>
            </a:ln>
            <a:effectLst/>
          </c:spPr>
          <c:invertIfNegative val="0"/>
          <c:dLbls>
            <c:numFmt formatCode="0%;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D0 - Promotions'!$CQ$6:$CQ$17</c:f>
              <c:numCache>
                <c:formatCode>General</c:formatCode>
                <c:ptCount val="12"/>
                <c:pt idx="0">
                  <c:v>20250616</c:v>
                </c:pt>
                <c:pt idx="1">
                  <c:v>20250623</c:v>
                </c:pt>
                <c:pt idx="2">
                  <c:v>20250630</c:v>
                </c:pt>
                <c:pt idx="3">
                  <c:v>20250707</c:v>
                </c:pt>
                <c:pt idx="4">
                  <c:v>20250714</c:v>
                </c:pt>
                <c:pt idx="5">
                  <c:v>20250721</c:v>
                </c:pt>
                <c:pt idx="6">
                  <c:v>20250728</c:v>
                </c:pt>
                <c:pt idx="7">
                  <c:v>20250804</c:v>
                </c:pt>
                <c:pt idx="8">
                  <c:v>20250811</c:v>
                </c:pt>
                <c:pt idx="9">
                  <c:v>20250818</c:v>
                </c:pt>
                <c:pt idx="10">
                  <c:v>20250825</c:v>
                </c:pt>
                <c:pt idx="11">
                  <c:v>20250901</c:v>
                </c:pt>
              </c:numCache>
            </c:numRef>
          </c:cat>
          <c:val>
            <c:numRef>
              <c:f>'D0 - Promotions'!$CR$6:$CR$17</c:f>
              <c:numCache>
                <c:formatCode>0%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.82222222222222219</c:v>
                </c:pt>
                <c:pt idx="4">
                  <c:v>0.75862068965517238</c:v>
                </c:pt>
                <c:pt idx="5">
                  <c:v>0.19230769230769232</c:v>
                </c:pt>
                <c:pt idx="6">
                  <c:v>0.36363636363636365</c:v>
                </c:pt>
                <c:pt idx="7">
                  <c:v>0.2982456140350877</c:v>
                </c:pt>
                <c:pt idx="8">
                  <c:v>0.32038834951456313</c:v>
                </c:pt>
                <c:pt idx="9">
                  <c:v>0.11764705882352941</c:v>
                </c:pt>
                <c:pt idx="10">
                  <c:v>0.18478260869565216</c:v>
                </c:pt>
                <c:pt idx="1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9EA-4AE6-8901-A1FCBEE730F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-27"/>
        <c:axId val="1543007695"/>
        <c:axId val="1543015375"/>
      </c:barChart>
      <c:catAx>
        <c:axId val="154300769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543015375"/>
        <c:crosses val="autoZero"/>
        <c:auto val="1"/>
        <c:lblAlgn val="ctr"/>
        <c:lblOffset val="100"/>
        <c:noMultiLvlLbl val="0"/>
      </c:catAx>
      <c:valAx>
        <c:axId val="1543015375"/>
        <c:scaling>
          <c:orientation val="minMax"/>
          <c:max val="1"/>
          <c:min val="0"/>
        </c:scaling>
        <c:delete val="1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FR" b="1" dirty="0"/>
                  <a:t>Part</a:t>
                </a:r>
                <a:r>
                  <a:rPr lang="fr-FR" b="1" baseline="0" dirty="0"/>
                  <a:t> des magasins adressés en promotion</a:t>
                </a:r>
                <a:endParaRPr lang="fr-FR" b="1" dirty="0"/>
              </a:p>
            </c:rich>
          </c:tx>
          <c:layout>
            <c:manualLayout>
              <c:xMode val="edge"/>
              <c:yMode val="edge"/>
              <c:x val="0.96469336574297915"/>
              <c:y val="7.0872327791105402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0%" sourceLinked="1"/>
        <c:majorTickMark val="none"/>
        <c:minorTickMark val="none"/>
        <c:tickLblPos val="high"/>
        <c:crossAx val="154300769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200"/>
      </a:pPr>
      <a:endParaRPr lang="fr-FR"/>
    </a:p>
  </c:txPr>
  <c:externalData r:id="rId3">
    <c:autoUpdate val="1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ubbleChart>
        <c:varyColors val="0"/>
        <c:ser>
          <c:idx val="0"/>
          <c:order val="0"/>
          <c:tx>
            <c:strRef>
              <c:f>'D0 - Promotions'!$CM$5</c:f>
              <c:strCache>
                <c:ptCount val="1"/>
                <c:pt idx="0">
                  <c:v>Y = Prix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 w="57150">
              <a:solidFill>
                <a:schemeClr val="tx2">
                  <a:lumMod val="60000"/>
                  <a:lumOff val="40000"/>
                </a:schemeClr>
              </a:solidFill>
            </a:ln>
            <a:effectLst/>
          </c:spPr>
          <c:invertIfNegative val="0"/>
          <c:xVal>
            <c:numRef>
              <c:f>'D0 - Promotions'!$CL$6:$CL$245</c:f>
              <c:numCache>
                <c:formatCode>General</c:formatCode>
                <c:ptCount val="24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2</c:v>
                </c:pt>
                <c:pt idx="21">
                  <c:v>2</c:v>
                </c:pt>
                <c:pt idx="22">
                  <c:v>2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2</c:v>
                </c:pt>
                <c:pt idx="28">
                  <c:v>2</c:v>
                </c:pt>
                <c:pt idx="29">
                  <c:v>2</c:v>
                </c:pt>
                <c:pt idx="30">
                  <c:v>2</c:v>
                </c:pt>
                <c:pt idx="31">
                  <c:v>2</c:v>
                </c:pt>
                <c:pt idx="32">
                  <c:v>2</c:v>
                </c:pt>
                <c:pt idx="33">
                  <c:v>2</c:v>
                </c:pt>
                <c:pt idx="34">
                  <c:v>2</c:v>
                </c:pt>
                <c:pt idx="35">
                  <c:v>2</c:v>
                </c:pt>
                <c:pt idx="36">
                  <c:v>2</c:v>
                </c:pt>
                <c:pt idx="37">
                  <c:v>2</c:v>
                </c:pt>
                <c:pt idx="38">
                  <c:v>2</c:v>
                </c:pt>
                <c:pt idx="39">
                  <c:v>2</c:v>
                </c:pt>
                <c:pt idx="40">
                  <c:v>3</c:v>
                </c:pt>
                <c:pt idx="41">
                  <c:v>3</c:v>
                </c:pt>
                <c:pt idx="42">
                  <c:v>3</c:v>
                </c:pt>
                <c:pt idx="43">
                  <c:v>3</c:v>
                </c:pt>
                <c:pt idx="44">
                  <c:v>3</c:v>
                </c:pt>
                <c:pt idx="45">
                  <c:v>3</c:v>
                </c:pt>
                <c:pt idx="46">
                  <c:v>3</c:v>
                </c:pt>
                <c:pt idx="47">
                  <c:v>3</c:v>
                </c:pt>
                <c:pt idx="48">
                  <c:v>3</c:v>
                </c:pt>
                <c:pt idx="49">
                  <c:v>3</c:v>
                </c:pt>
                <c:pt idx="50">
                  <c:v>3</c:v>
                </c:pt>
                <c:pt idx="51">
                  <c:v>3</c:v>
                </c:pt>
                <c:pt idx="52">
                  <c:v>3</c:v>
                </c:pt>
                <c:pt idx="53">
                  <c:v>3</c:v>
                </c:pt>
                <c:pt idx="54">
                  <c:v>3</c:v>
                </c:pt>
                <c:pt idx="55">
                  <c:v>3</c:v>
                </c:pt>
                <c:pt idx="56">
                  <c:v>3</c:v>
                </c:pt>
                <c:pt idx="57">
                  <c:v>3</c:v>
                </c:pt>
                <c:pt idx="58">
                  <c:v>3</c:v>
                </c:pt>
                <c:pt idx="59">
                  <c:v>3</c:v>
                </c:pt>
                <c:pt idx="60">
                  <c:v>4</c:v>
                </c:pt>
                <c:pt idx="61">
                  <c:v>4</c:v>
                </c:pt>
                <c:pt idx="62">
                  <c:v>4</c:v>
                </c:pt>
                <c:pt idx="63">
                  <c:v>4</c:v>
                </c:pt>
                <c:pt idx="64">
                  <c:v>4</c:v>
                </c:pt>
                <c:pt idx="65">
                  <c:v>4</c:v>
                </c:pt>
                <c:pt idx="66">
                  <c:v>4</c:v>
                </c:pt>
                <c:pt idx="67">
                  <c:v>4</c:v>
                </c:pt>
                <c:pt idx="68">
                  <c:v>4</c:v>
                </c:pt>
                <c:pt idx="69">
                  <c:v>4</c:v>
                </c:pt>
                <c:pt idx="70">
                  <c:v>4</c:v>
                </c:pt>
                <c:pt idx="71">
                  <c:v>4</c:v>
                </c:pt>
                <c:pt idx="72">
                  <c:v>4</c:v>
                </c:pt>
                <c:pt idx="73">
                  <c:v>4</c:v>
                </c:pt>
                <c:pt idx="74">
                  <c:v>4</c:v>
                </c:pt>
                <c:pt idx="75">
                  <c:v>4</c:v>
                </c:pt>
                <c:pt idx="76">
                  <c:v>4</c:v>
                </c:pt>
                <c:pt idx="77">
                  <c:v>4</c:v>
                </c:pt>
                <c:pt idx="78">
                  <c:v>4</c:v>
                </c:pt>
                <c:pt idx="79">
                  <c:v>4</c:v>
                </c:pt>
                <c:pt idx="80">
                  <c:v>5</c:v>
                </c:pt>
                <c:pt idx="81">
                  <c:v>5</c:v>
                </c:pt>
                <c:pt idx="82">
                  <c:v>5</c:v>
                </c:pt>
                <c:pt idx="83">
                  <c:v>5</c:v>
                </c:pt>
                <c:pt idx="84">
                  <c:v>5</c:v>
                </c:pt>
                <c:pt idx="85">
                  <c:v>5</c:v>
                </c:pt>
                <c:pt idx="86">
                  <c:v>5</c:v>
                </c:pt>
                <c:pt idx="87">
                  <c:v>5</c:v>
                </c:pt>
                <c:pt idx="88">
                  <c:v>5</c:v>
                </c:pt>
                <c:pt idx="89">
                  <c:v>5</c:v>
                </c:pt>
                <c:pt idx="90">
                  <c:v>5</c:v>
                </c:pt>
                <c:pt idx="91">
                  <c:v>5</c:v>
                </c:pt>
                <c:pt idx="92">
                  <c:v>5</c:v>
                </c:pt>
                <c:pt idx="93">
                  <c:v>5</c:v>
                </c:pt>
                <c:pt idx="94">
                  <c:v>5</c:v>
                </c:pt>
                <c:pt idx="95">
                  <c:v>5</c:v>
                </c:pt>
                <c:pt idx="96">
                  <c:v>5</c:v>
                </c:pt>
                <c:pt idx="97">
                  <c:v>5</c:v>
                </c:pt>
                <c:pt idx="98">
                  <c:v>5</c:v>
                </c:pt>
                <c:pt idx="99">
                  <c:v>5</c:v>
                </c:pt>
                <c:pt idx="100">
                  <c:v>6</c:v>
                </c:pt>
                <c:pt idx="101">
                  <c:v>6</c:v>
                </c:pt>
                <c:pt idx="102">
                  <c:v>6</c:v>
                </c:pt>
                <c:pt idx="103">
                  <c:v>6</c:v>
                </c:pt>
                <c:pt idx="104">
                  <c:v>6</c:v>
                </c:pt>
                <c:pt idx="105">
                  <c:v>6</c:v>
                </c:pt>
                <c:pt idx="106">
                  <c:v>6</c:v>
                </c:pt>
                <c:pt idx="107">
                  <c:v>6</c:v>
                </c:pt>
                <c:pt idx="108">
                  <c:v>6</c:v>
                </c:pt>
                <c:pt idx="109">
                  <c:v>6</c:v>
                </c:pt>
                <c:pt idx="110">
                  <c:v>6</c:v>
                </c:pt>
                <c:pt idx="111">
                  <c:v>6</c:v>
                </c:pt>
                <c:pt idx="112">
                  <c:v>6</c:v>
                </c:pt>
                <c:pt idx="113">
                  <c:v>6</c:v>
                </c:pt>
                <c:pt idx="114">
                  <c:v>6</c:v>
                </c:pt>
                <c:pt idx="115">
                  <c:v>6</c:v>
                </c:pt>
                <c:pt idx="116">
                  <c:v>6</c:v>
                </c:pt>
                <c:pt idx="117">
                  <c:v>6</c:v>
                </c:pt>
                <c:pt idx="118">
                  <c:v>6</c:v>
                </c:pt>
                <c:pt idx="119">
                  <c:v>6</c:v>
                </c:pt>
                <c:pt idx="120">
                  <c:v>7</c:v>
                </c:pt>
                <c:pt idx="121">
                  <c:v>7</c:v>
                </c:pt>
                <c:pt idx="122">
                  <c:v>7</c:v>
                </c:pt>
                <c:pt idx="123">
                  <c:v>7</c:v>
                </c:pt>
                <c:pt idx="124">
                  <c:v>7</c:v>
                </c:pt>
                <c:pt idx="125">
                  <c:v>7</c:v>
                </c:pt>
                <c:pt idx="126">
                  <c:v>7</c:v>
                </c:pt>
                <c:pt idx="127">
                  <c:v>7</c:v>
                </c:pt>
                <c:pt idx="128">
                  <c:v>7</c:v>
                </c:pt>
                <c:pt idx="129">
                  <c:v>7</c:v>
                </c:pt>
                <c:pt idx="130">
                  <c:v>7</c:v>
                </c:pt>
                <c:pt idx="131">
                  <c:v>7</c:v>
                </c:pt>
                <c:pt idx="132">
                  <c:v>7</c:v>
                </c:pt>
                <c:pt idx="133">
                  <c:v>7</c:v>
                </c:pt>
                <c:pt idx="134">
                  <c:v>7</c:v>
                </c:pt>
                <c:pt idx="135">
                  <c:v>7</c:v>
                </c:pt>
                <c:pt idx="136">
                  <c:v>7</c:v>
                </c:pt>
                <c:pt idx="137">
                  <c:v>7</c:v>
                </c:pt>
                <c:pt idx="138">
                  <c:v>7</c:v>
                </c:pt>
                <c:pt idx="139">
                  <c:v>7</c:v>
                </c:pt>
                <c:pt idx="140">
                  <c:v>8</c:v>
                </c:pt>
                <c:pt idx="141">
                  <c:v>8</c:v>
                </c:pt>
                <c:pt idx="142">
                  <c:v>8</c:v>
                </c:pt>
                <c:pt idx="143">
                  <c:v>8</c:v>
                </c:pt>
                <c:pt idx="144">
                  <c:v>8</c:v>
                </c:pt>
                <c:pt idx="145">
                  <c:v>8</c:v>
                </c:pt>
                <c:pt idx="146">
                  <c:v>8</c:v>
                </c:pt>
                <c:pt idx="147">
                  <c:v>8</c:v>
                </c:pt>
                <c:pt idx="148">
                  <c:v>8</c:v>
                </c:pt>
                <c:pt idx="149">
                  <c:v>8</c:v>
                </c:pt>
                <c:pt idx="150">
                  <c:v>8</c:v>
                </c:pt>
                <c:pt idx="151">
                  <c:v>8</c:v>
                </c:pt>
                <c:pt idx="152">
                  <c:v>8</c:v>
                </c:pt>
                <c:pt idx="153">
                  <c:v>8</c:v>
                </c:pt>
                <c:pt idx="154">
                  <c:v>8</c:v>
                </c:pt>
                <c:pt idx="155">
                  <c:v>8</c:v>
                </c:pt>
                <c:pt idx="156">
                  <c:v>8</c:v>
                </c:pt>
                <c:pt idx="157">
                  <c:v>8</c:v>
                </c:pt>
                <c:pt idx="158">
                  <c:v>8</c:v>
                </c:pt>
                <c:pt idx="159">
                  <c:v>8</c:v>
                </c:pt>
                <c:pt idx="160">
                  <c:v>9</c:v>
                </c:pt>
                <c:pt idx="161">
                  <c:v>9</c:v>
                </c:pt>
                <c:pt idx="162">
                  <c:v>9</c:v>
                </c:pt>
                <c:pt idx="163">
                  <c:v>9</c:v>
                </c:pt>
                <c:pt idx="164">
                  <c:v>9</c:v>
                </c:pt>
                <c:pt idx="165">
                  <c:v>9</c:v>
                </c:pt>
                <c:pt idx="166">
                  <c:v>9</c:v>
                </c:pt>
                <c:pt idx="167">
                  <c:v>9</c:v>
                </c:pt>
                <c:pt idx="168">
                  <c:v>9</c:v>
                </c:pt>
                <c:pt idx="169">
                  <c:v>9</c:v>
                </c:pt>
                <c:pt idx="170">
                  <c:v>9</c:v>
                </c:pt>
                <c:pt idx="171">
                  <c:v>9</c:v>
                </c:pt>
                <c:pt idx="172">
                  <c:v>9</c:v>
                </c:pt>
                <c:pt idx="173">
                  <c:v>9</c:v>
                </c:pt>
                <c:pt idx="174">
                  <c:v>9</c:v>
                </c:pt>
                <c:pt idx="175">
                  <c:v>9</c:v>
                </c:pt>
                <c:pt idx="176">
                  <c:v>9</c:v>
                </c:pt>
                <c:pt idx="177">
                  <c:v>9</c:v>
                </c:pt>
                <c:pt idx="178">
                  <c:v>9</c:v>
                </c:pt>
                <c:pt idx="179">
                  <c:v>9</c:v>
                </c:pt>
                <c:pt idx="180">
                  <c:v>10</c:v>
                </c:pt>
                <c:pt idx="181">
                  <c:v>10</c:v>
                </c:pt>
                <c:pt idx="182">
                  <c:v>10</c:v>
                </c:pt>
                <c:pt idx="183">
                  <c:v>10</c:v>
                </c:pt>
                <c:pt idx="184">
                  <c:v>10</c:v>
                </c:pt>
                <c:pt idx="185">
                  <c:v>10</c:v>
                </c:pt>
                <c:pt idx="186">
                  <c:v>10</c:v>
                </c:pt>
                <c:pt idx="187">
                  <c:v>10</c:v>
                </c:pt>
                <c:pt idx="188">
                  <c:v>10</c:v>
                </c:pt>
                <c:pt idx="189">
                  <c:v>10</c:v>
                </c:pt>
                <c:pt idx="190">
                  <c:v>10</c:v>
                </c:pt>
                <c:pt idx="191">
                  <c:v>10</c:v>
                </c:pt>
                <c:pt idx="192">
                  <c:v>10</c:v>
                </c:pt>
                <c:pt idx="193">
                  <c:v>10</c:v>
                </c:pt>
                <c:pt idx="194">
                  <c:v>10</c:v>
                </c:pt>
                <c:pt idx="195">
                  <c:v>10</c:v>
                </c:pt>
                <c:pt idx="196">
                  <c:v>10</c:v>
                </c:pt>
                <c:pt idx="197">
                  <c:v>10</c:v>
                </c:pt>
                <c:pt idx="198">
                  <c:v>10</c:v>
                </c:pt>
                <c:pt idx="199">
                  <c:v>10</c:v>
                </c:pt>
                <c:pt idx="200">
                  <c:v>11</c:v>
                </c:pt>
                <c:pt idx="201">
                  <c:v>11</c:v>
                </c:pt>
                <c:pt idx="202">
                  <c:v>11</c:v>
                </c:pt>
                <c:pt idx="203">
                  <c:v>11</c:v>
                </c:pt>
                <c:pt idx="204">
                  <c:v>11</c:v>
                </c:pt>
                <c:pt idx="205">
                  <c:v>11</c:v>
                </c:pt>
                <c:pt idx="206">
                  <c:v>11</c:v>
                </c:pt>
                <c:pt idx="207">
                  <c:v>11</c:v>
                </c:pt>
                <c:pt idx="208">
                  <c:v>11</c:v>
                </c:pt>
                <c:pt idx="209">
                  <c:v>11</c:v>
                </c:pt>
                <c:pt idx="210">
                  <c:v>11</c:v>
                </c:pt>
                <c:pt idx="211">
                  <c:v>11</c:v>
                </c:pt>
                <c:pt idx="212">
                  <c:v>11</c:v>
                </c:pt>
                <c:pt idx="213">
                  <c:v>11</c:v>
                </c:pt>
                <c:pt idx="214">
                  <c:v>11</c:v>
                </c:pt>
                <c:pt idx="215">
                  <c:v>11</c:v>
                </c:pt>
                <c:pt idx="216">
                  <c:v>11</c:v>
                </c:pt>
                <c:pt idx="217">
                  <c:v>11</c:v>
                </c:pt>
                <c:pt idx="218">
                  <c:v>11</c:v>
                </c:pt>
                <c:pt idx="219">
                  <c:v>11</c:v>
                </c:pt>
                <c:pt idx="220">
                  <c:v>12</c:v>
                </c:pt>
                <c:pt idx="221">
                  <c:v>12</c:v>
                </c:pt>
                <c:pt idx="222">
                  <c:v>12</c:v>
                </c:pt>
                <c:pt idx="223">
                  <c:v>12</c:v>
                </c:pt>
                <c:pt idx="224">
                  <c:v>12</c:v>
                </c:pt>
                <c:pt idx="225">
                  <c:v>12</c:v>
                </c:pt>
                <c:pt idx="226">
                  <c:v>12</c:v>
                </c:pt>
                <c:pt idx="227">
                  <c:v>12</c:v>
                </c:pt>
                <c:pt idx="228">
                  <c:v>12</c:v>
                </c:pt>
                <c:pt idx="229">
                  <c:v>12</c:v>
                </c:pt>
                <c:pt idx="230">
                  <c:v>12</c:v>
                </c:pt>
                <c:pt idx="231">
                  <c:v>12</c:v>
                </c:pt>
                <c:pt idx="232">
                  <c:v>12</c:v>
                </c:pt>
                <c:pt idx="233">
                  <c:v>12</c:v>
                </c:pt>
                <c:pt idx="234">
                  <c:v>12</c:v>
                </c:pt>
                <c:pt idx="235">
                  <c:v>12</c:v>
                </c:pt>
                <c:pt idx="236">
                  <c:v>12</c:v>
                </c:pt>
                <c:pt idx="237">
                  <c:v>12</c:v>
                </c:pt>
                <c:pt idx="238">
                  <c:v>12</c:v>
                </c:pt>
                <c:pt idx="239">
                  <c:v>12</c:v>
                </c:pt>
              </c:numCache>
            </c:numRef>
          </c:xVal>
          <c:yVal>
            <c:numRef>
              <c:f>'D0 - Promotions'!$CM$6:$CM$245</c:f>
              <c:numCache>
                <c:formatCode>General</c:formatCode>
                <c:ptCount val="240"/>
                <c:pt idx="0" formatCode="&quot;€&quot;#,##0.00_);[Red]\(&quot;€&quot;#,##0.00\)">
                  <c:v>25.65</c:v>
                </c:pt>
                <c:pt idx="1">
                  <c:v>26.3</c:v>
                </c:pt>
                <c:pt idx="2">
                  <c:v>26.95</c:v>
                </c:pt>
                <c:pt idx="3">
                  <c:v>27.6</c:v>
                </c:pt>
                <c:pt idx="4">
                  <c:v>28.25</c:v>
                </c:pt>
                <c:pt idx="5">
                  <c:v>28.9</c:v>
                </c:pt>
                <c:pt idx="6">
                  <c:v>29.55</c:v>
                </c:pt>
                <c:pt idx="7">
                  <c:v>30.2</c:v>
                </c:pt>
                <c:pt idx="8">
                  <c:v>30.85</c:v>
                </c:pt>
                <c:pt idx="9">
                  <c:v>31.5</c:v>
                </c:pt>
                <c:pt idx="10">
                  <c:v>32.15</c:v>
                </c:pt>
                <c:pt idx="11">
                  <c:v>32.799999999999997</c:v>
                </c:pt>
                <c:pt idx="12">
                  <c:v>33.450000000000003</c:v>
                </c:pt>
                <c:pt idx="13">
                  <c:v>34.1</c:v>
                </c:pt>
                <c:pt idx="14">
                  <c:v>34.75</c:v>
                </c:pt>
                <c:pt idx="15">
                  <c:v>35.4</c:v>
                </c:pt>
                <c:pt idx="16">
                  <c:v>36.049999999999997</c:v>
                </c:pt>
                <c:pt idx="17">
                  <c:v>36.700000000000003</c:v>
                </c:pt>
                <c:pt idx="18">
                  <c:v>37.35</c:v>
                </c:pt>
                <c:pt idx="19">
                  <c:v>38</c:v>
                </c:pt>
                <c:pt idx="20">
                  <c:v>25.65</c:v>
                </c:pt>
                <c:pt idx="21">
                  <c:v>26.3</c:v>
                </c:pt>
                <c:pt idx="22">
                  <c:v>26.950000000000003</c:v>
                </c:pt>
                <c:pt idx="23">
                  <c:v>27.599999999999998</c:v>
                </c:pt>
                <c:pt idx="24">
                  <c:v>28.25</c:v>
                </c:pt>
                <c:pt idx="25">
                  <c:v>28.9</c:v>
                </c:pt>
                <c:pt idx="26">
                  <c:v>29.55</c:v>
                </c:pt>
                <c:pt idx="27">
                  <c:v>30.200000000000003</c:v>
                </c:pt>
                <c:pt idx="28">
                  <c:v>30.849999999999998</c:v>
                </c:pt>
                <c:pt idx="29">
                  <c:v>31.5</c:v>
                </c:pt>
                <c:pt idx="30">
                  <c:v>32.15</c:v>
                </c:pt>
                <c:pt idx="31">
                  <c:v>32.799999999999997</c:v>
                </c:pt>
                <c:pt idx="32">
                  <c:v>33.450000000000003</c:v>
                </c:pt>
                <c:pt idx="33">
                  <c:v>34.099999999999994</c:v>
                </c:pt>
                <c:pt idx="34">
                  <c:v>34.75</c:v>
                </c:pt>
                <c:pt idx="35">
                  <c:v>35.4</c:v>
                </c:pt>
                <c:pt idx="36">
                  <c:v>36.049999999999997</c:v>
                </c:pt>
                <c:pt idx="37">
                  <c:v>36.700000000000003</c:v>
                </c:pt>
                <c:pt idx="38">
                  <c:v>37.35</c:v>
                </c:pt>
                <c:pt idx="39">
                  <c:v>38</c:v>
                </c:pt>
                <c:pt idx="40">
                  <c:v>25.65</c:v>
                </c:pt>
                <c:pt idx="41">
                  <c:v>26.299999999999997</c:v>
                </c:pt>
                <c:pt idx="42">
                  <c:v>26.950000000000003</c:v>
                </c:pt>
                <c:pt idx="43">
                  <c:v>27.599999999999998</c:v>
                </c:pt>
                <c:pt idx="44">
                  <c:v>28.250000000000004</c:v>
                </c:pt>
                <c:pt idx="45">
                  <c:v>28.9</c:v>
                </c:pt>
                <c:pt idx="46">
                  <c:v>29.549999999999997</c:v>
                </c:pt>
                <c:pt idx="47">
                  <c:v>30.200000000000003</c:v>
                </c:pt>
                <c:pt idx="48">
                  <c:v>30.849999999999998</c:v>
                </c:pt>
                <c:pt idx="49">
                  <c:v>31.500000000000004</c:v>
                </c:pt>
                <c:pt idx="50">
                  <c:v>32.15</c:v>
                </c:pt>
                <c:pt idx="51">
                  <c:v>32.799999999999997</c:v>
                </c:pt>
                <c:pt idx="52">
                  <c:v>33.450000000000003</c:v>
                </c:pt>
                <c:pt idx="53">
                  <c:v>34.099999999999994</c:v>
                </c:pt>
                <c:pt idx="54">
                  <c:v>34.75</c:v>
                </c:pt>
                <c:pt idx="55">
                  <c:v>35.4</c:v>
                </c:pt>
                <c:pt idx="56">
                  <c:v>36.049999999999997</c:v>
                </c:pt>
                <c:pt idx="57">
                  <c:v>36.700000000000003</c:v>
                </c:pt>
                <c:pt idx="58">
                  <c:v>37.35</c:v>
                </c:pt>
                <c:pt idx="59">
                  <c:v>38</c:v>
                </c:pt>
                <c:pt idx="60">
                  <c:v>25.65</c:v>
                </c:pt>
                <c:pt idx="61">
                  <c:v>26.299999999999997</c:v>
                </c:pt>
                <c:pt idx="62">
                  <c:v>26.950000000000003</c:v>
                </c:pt>
                <c:pt idx="63">
                  <c:v>27.599999999999998</c:v>
                </c:pt>
                <c:pt idx="64">
                  <c:v>28.250000000000004</c:v>
                </c:pt>
                <c:pt idx="65">
                  <c:v>28.9</c:v>
                </c:pt>
                <c:pt idx="66">
                  <c:v>29.549999999999997</c:v>
                </c:pt>
                <c:pt idx="67">
                  <c:v>30.200000000000003</c:v>
                </c:pt>
                <c:pt idx="68">
                  <c:v>30.849999999999998</c:v>
                </c:pt>
                <c:pt idx="69">
                  <c:v>31.500000000000004</c:v>
                </c:pt>
                <c:pt idx="70">
                  <c:v>32.15</c:v>
                </c:pt>
                <c:pt idx="71">
                  <c:v>32.799999999999997</c:v>
                </c:pt>
                <c:pt idx="72">
                  <c:v>33.450000000000003</c:v>
                </c:pt>
                <c:pt idx="73">
                  <c:v>34.099999999999994</c:v>
                </c:pt>
                <c:pt idx="74">
                  <c:v>34.75</c:v>
                </c:pt>
                <c:pt idx="75">
                  <c:v>35.4</c:v>
                </c:pt>
                <c:pt idx="76">
                  <c:v>36.049999999999997</c:v>
                </c:pt>
                <c:pt idx="77">
                  <c:v>36.700000000000003</c:v>
                </c:pt>
                <c:pt idx="78">
                  <c:v>37.35</c:v>
                </c:pt>
                <c:pt idx="79">
                  <c:v>38</c:v>
                </c:pt>
                <c:pt idx="80">
                  <c:v>25.65</c:v>
                </c:pt>
                <c:pt idx="81">
                  <c:v>26.299999999999997</c:v>
                </c:pt>
                <c:pt idx="82">
                  <c:v>26.949999999999996</c:v>
                </c:pt>
                <c:pt idx="83">
                  <c:v>27.600000000000005</c:v>
                </c:pt>
                <c:pt idx="84">
                  <c:v>28.250000000000004</c:v>
                </c:pt>
                <c:pt idx="85">
                  <c:v>28.9</c:v>
                </c:pt>
                <c:pt idx="86">
                  <c:v>29.549999999999997</c:v>
                </c:pt>
                <c:pt idx="87">
                  <c:v>30.199999999999996</c:v>
                </c:pt>
                <c:pt idx="88">
                  <c:v>30.850000000000005</c:v>
                </c:pt>
                <c:pt idx="89">
                  <c:v>31.500000000000004</c:v>
                </c:pt>
                <c:pt idx="90">
                  <c:v>32.15</c:v>
                </c:pt>
                <c:pt idx="91">
                  <c:v>32.799999999999997</c:v>
                </c:pt>
                <c:pt idx="92">
                  <c:v>33.449999999999996</c:v>
                </c:pt>
                <c:pt idx="93">
                  <c:v>34.100000000000009</c:v>
                </c:pt>
                <c:pt idx="94">
                  <c:v>34.75</c:v>
                </c:pt>
                <c:pt idx="95">
                  <c:v>35.4</c:v>
                </c:pt>
                <c:pt idx="96">
                  <c:v>36.049999999999997</c:v>
                </c:pt>
                <c:pt idx="97">
                  <c:v>36.699999999999996</c:v>
                </c:pt>
                <c:pt idx="98">
                  <c:v>37.350000000000009</c:v>
                </c:pt>
                <c:pt idx="99">
                  <c:v>38</c:v>
                </c:pt>
                <c:pt idx="100">
                  <c:v>25.65</c:v>
                </c:pt>
                <c:pt idx="101">
                  <c:v>26.299999999999997</c:v>
                </c:pt>
                <c:pt idx="102">
                  <c:v>26.949999999999996</c:v>
                </c:pt>
                <c:pt idx="103">
                  <c:v>27.600000000000005</c:v>
                </c:pt>
                <c:pt idx="104">
                  <c:v>28.250000000000004</c:v>
                </c:pt>
                <c:pt idx="105">
                  <c:v>28.9</c:v>
                </c:pt>
                <c:pt idx="106">
                  <c:v>29.549999999999997</c:v>
                </c:pt>
                <c:pt idx="107">
                  <c:v>30.199999999999996</c:v>
                </c:pt>
                <c:pt idx="108">
                  <c:v>30.850000000000005</c:v>
                </c:pt>
                <c:pt idx="109">
                  <c:v>31.500000000000004</c:v>
                </c:pt>
                <c:pt idx="110">
                  <c:v>32.15</c:v>
                </c:pt>
                <c:pt idx="111">
                  <c:v>32.799999999999997</c:v>
                </c:pt>
                <c:pt idx="112">
                  <c:v>33.449999999999996</c:v>
                </c:pt>
                <c:pt idx="113">
                  <c:v>34.100000000000009</c:v>
                </c:pt>
                <c:pt idx="114">
                  <c:v>34.75</c:v>
                </c:pt>
                <c:pt idx="115">
                  <c:v>35.4</c:v>
                </c:pt>
                <c:pt idx="116">
                  <c:v>36.049999999999997</c:v>
                </c:pt>
                <c:pt idx="117">
                  <c:v>36.699999999999996</c:v>
                </c:pt>
                <c:pt idx="118">
                  <c:v>37.350000000000009</c:v>
                </c:pt>
                <c:pt idx="119">
                  <c:v>38</c:v>
                </c:pt>
                <c:pt idx="120">
                  <c:v>25.65</c:v>
                </c:pt>
                <c:pt idx="121">
                  <c:v>26.299999999999997</c:v>
                </c:pt>
                <c:pt idx="122">
                  <c:v>26.949999999999996</c:v>
                </c:pt>
                <c:pt idx="123">
                  <c:v>27.600000000000005</c:v>
                </c:pt>
                <c:pt idx="124">
                  <c:v>28.250000000000004</c:v>
                </c:pt>
                <c:pt idx="125">
                  <c:v>28.9</c:v>
                </c:pt>
                <c:pt idx="126">
                  <c:v>29.549999999999997</c:v>
                </c:pt>
                <c:pt idx="127">
                  <c:v>30.199999999999996</c:v>
                </c:pt>
                <c:pt idx="128">
                  <c:v>30.850000000000005</c:v>
                </c:pt>
                <c:pt idx="129">
                  <c:v>31.500000000000004</c:v>
                </c:pt>
                <c:pt idx="130">
                  <c:v>32.15</c:v>
                </c:pt>
                <c:pt idx="131">
                  <c:v>32.799999999999997</c:v>
                </c:pt>
                <c:pt idx="132">
                  <c:v>33.449999999999996</c:v>
                </c:pt>
                <c:pt idx="133">
                  <c:v>34.100000000000009</c:v>
                </c:pt>
                <c:pt idx="134">
                  <c:v>34.75</c:v>
                </c:pt>
                <c:pt idx="135">
                  <c:v>35.4</c:v>
                </c:pt>
                <c:pt idx="136">
                  <c:v>36.049999999999997</c:v>
                </c:pt>
                <c:pt idx="137">
                  <c:v>36.699999999999996</c:v>
                </c:pt>
                <c:pt idx="138">
                  <c:v>37.350000000000009</c:v>
                </c:pt>
                <c:pt idx="139">
                  <c:v>38</c:v>
                </c:pt>
                <c:pt idx="140">
                  <c:v>25.65</c:v>
                </c:pt>
                <c:pt idx="141">
                  <c:v>26.299999999999997</c:v>
                </c:pt>
                <c:pt idx="142">
                  <c:v>26.949999999999996</c:v>
                </c:pt>
                <c:pt idx="143">
                  <c:v>27.600000000000005</c:v>
                </c:pt>
                <c:pt idx="144">
                  <c:v>28.250000000000004</c:v>
                </c:pt>
                <c:pt idx="145">
                  <c:v>28.9</c:v>
                </c:pt>
                <c:pt idx="146">
                  <c:v>29.549999999999997</c:v>
                </c:pt>
                <c:pt idx="147">
                  <c:v>30.199999999999996</c:v>
                </c:pt>
                <c:pt idx="148">
                  <c:v>30.850000000000005</c:v>
                </c:pt>
                <c:pt idx="149">
                  <c:v>31.500000000000004</c:v>
                </c:pt>
                <c:pt idx="150">
                  <c:v>32.15</c:v>
                </c:pt>
                <c:pt idx="151">
                  <c:v>32.799999999999997</c:v>
                </c:pt>
                <c:pt idx="152">
                  <c:v>33.449999999999996</c:v>
                </c:pt>
                <c:pt idx="153">
                  <c:v>34.100000000000009</c:v>
                </c:pt>
                <c:pt idx="154">
                  <c:v>34.75</c:v>
                </c:pt>
                <c:pt idx="155">
                  <c:v>35.4</c:v>
                </c:pt>
                <c:pt idx="156">
                  <c:v>36.049999999999997</c:v>
                </c:pt>
                <c:pt idx="157">
                  <c:v>36.699999999999996</c:v>
                </c:pt>
                <c:pt idx="158">
                  <c:v>37.350000000000009</c:v>
                </c:pt>
                <c:pt idx="159">
                  <c:v>38</c:v>
                </c:pt>
                <c:pt idx="160">
                  <c:v>25.65</c:v>
                </c:pt>
                <c:pt idx="161">
                  <c:v>26.300000000000008</c:v>
                </c:pt>
                <c:pt idx="162">
                  <c:v>26.949999999999996</c:v>
                </c:pt>
                <c:pt idx="163">
                  <c:v>27.600000000000005</c:v>
                </c:pt>
                <c:pt idx="164">
                  <c:v>28.249999999999989</c:v>
                </c:pt>
                <c:pt idx="165">
                  <c:v>28.9</c:v>
                </c:pt>
                <c:pt idx="166">
                  <c:v>29.550000000000011</c:v>
                </c:pt>
                <c:pt idx="167">
                  <c:v>30.199999999999996</c:v>
                </c:pt>
                <c:pt idx="168">
                  <c:v>30.850000000000005</c:v>
                </c:pt>
                <c:pt idx="169">
                  <c:v>31.499999999999993</c:v>
                </c:pt>
                <c:pt idx="170">
                  <c:v>32.15</c:v>
                </c:pt>
                <c:pt idx="171">
                  <c:v>32.800000000000011</c:v>
                </c:pt>
                <c:pt idx="172">
                  <c:v>33.449999999999996</c:v>
                </c:pt>
                <c:pt idx="173">
                  <c:v>34.100000000000009</c:v>
                </c:pt>
                <c:pt idx="174">
                  <c:v>34.749999999999993</c:v>
                </c:pt>
                <c:pt idx="175">
                  <c:v>35.4</c:v>
                </c:pt>
                <c:pt idx="176">
                  <c:v>36.050000000000011</c:v>
                </c:pt>
                <c:pt idx="177">
                  <c:v>36.699999999999996</c:v>
                </c:pt>
                <c:pt idx="178">
                  <c:v>37.350000000000009</c:v>
                </c:pt>
                <c:pt idx="179">
                  <c:v>37.999999999999993</c:v>
                </c:pt>
                <c:pt idx="180">
                  <c:v>25.65</c:v>
                </c:pt>
                <c:pt idx="181">
                  <c:v>26.300000000000008</c:v>
                </c:pt>
                <c:pt idx="182">
                  <c:v>26.949999999999996</c:v>
                </c:pt>
                <c:pt idx="183">
                  <c:v>27.600000000000005</c:v>
                </c:pt>
                <c:pt idx="184">
                  <c:v>28.249999999999989</c:v>
                </c:pt>
                <c:pt idx="185">
                  <c:v>28.9</c:v>
                </c:pt>
                <c:pt idx="186">
                  <c:v>29.550000000000011</c:v>
                </c:pt>
                <c:pt idx="187">
                  <c:v>30.199999999999996</c:v>
                </c:pt>
                <c:pt idx="188">
                  <c:v>30.850000000000005</c:v>
                </c:pt>
                <c:pt idx="189">
                  <c:v>31.499999999999993</c:v>
                </c:pt>
                <c:pt idx="190">
                  <c:v>32.15</c:v>
                </c:pt>
                <c:pt idx="191">
                  <c:v>32.800000000000011</c:v>
                </c:pt>
                <c:pt idx="192">
                  <c:v>33.449999999999996</c:v>
                </c:pt>
                <c:pt idx="193">
                  <c:v>34.100000000000009</c:v>
                </c:pt>
                <c:pt idx="194">
                  <c:v>34.749999999999993</c:v>
                </c:pt>
                <c:pt idx="195">
                  <c:v>35.4</c:v>
                </c:pt>
                <c:pt idx="196">
                  <c:v>36.050000000000011</c:v>
                </c:pt>
                <c:pt idx="197">
                  <c:v>36.699999999999996</c:v>
                </c:pt>
                <c:pt idx="198">
                  <c:v>37.350000000000009</c:v>
                </c:pt>
                <c:pt idx="199">
                  <c:v>37.999999999999993</c:v>
                </c:pt>
                <c:pt idx="200">
                  <c:v>25.65</c:v>
                </c:pt>
                <c:pt idx="201">
                  <c:v>26.300000000000008</c:v>
                </c:pt>
                <c:pt idx="202">
                  <c:v>26.949999999999996</c:v>
                </c:pt>
                <c:pt idx="203">
                  <c:v>27.600000000000005</c:v>
                </c:pt>
                <c:pt idx="204">
                  <c:v>28.249999999999989</c:v>
                </c:pt>
                <c:pt idx="205">
                  <c:v>28.9</c:v>
                </c:pt>
                <c:pt idx="206">
                  <c:v>29.550000000000011</c:v>
                </c:pt>
                <c:pt idx="207">
                  <c:v>30.199999999999996</c:v>
                </c:pt>
                <c:pt idx="208">
                  <c:v>30.850000000000005</c:v>
                </c:pt>
                <c:pt idx="209">
                  <c:v>31.499999999999993</c:v>
                </c:pt>
                <c:pt idx="210">
                  <c:v>32.15</c:v>
                </c:pt>
                <c:pt idx="211">
                  <c:v>32.800000000000011</c:v>
                </c:pt>
                <c:pt idx="212">
                  <c:v>33.449999999999996</c:v>
                </c:pt>
                <c:pt idx="213">
                  <c:v>34.100000000000009</c:v>
                </c:pt>
                <c:pt idx="214">
                  <c:v>34.749999999999993</c:v>
                </c:pt>
                <c:pt idx="215">
                  <c:v>35.4</c:v>
                </c:pt>
                <c:pt idx="216">
                  <c:v>36.050000000000011</c:v>
                </c:pt>
                <c:pt idx="217">
                  <c:v>36.699999999999996</c:v>
                </c:pt>
                <c:pt idx="218">
                  <c:v>37.350000000000009</c:v>
                </c:pt>
                <c:pt idx="219">
                  <c:v>37.999999999999993</c:v>
                </c:pt>
                <c:pt idx="220">
                  <c:v>25.65</c:v>
                </c:pt>
                <c:pt idx="221">
                  <c:v>26.300000000000008</c:v>
                </c:pt>
                <c:pt idx="222">
                  <c:v>26.949999999999996</c:v>
                </c:pt>
                <c:pt idx="223">
                  <c:v>27.600000000000005</c:v>
                </c:pt>
                <c:pt idx="224">
                  <c:v>28.249999999999989</c:v>
                </c:pt>
                <c:pt idx="225">
                  <c:v>28.9</c:v>
                </c:pt>
                <c:pt idx="226">
                  <c:v>29.550000000000011</c:v>
                </c:pt>
                <c:pt idx="227">
                  <c:v>30.199999999999996</c:v>
                </c:pt>
                <c:pt idx="228">
                  <c:v>30.850000000000005</c:v>
                </c:pt>
                <c:pt idx="229">
                  <c:v>31.499999999999993</c:v>
                </c:pt>
                <c:pt idx="230">
                  <c:v>32.15</c:v>
                </c:pt>
                <c:pt idx="231">
                  <c:v>32.800000000000011</c:v>
                </c:pt>
                <c:pt idx="232">
                  <c:v>33.449999999999996</c:v>
                </c:pt>
                <c:pt idx="233">
                  <c:v>34.100000000000009</c:v>
                </c:pt>
                <c:pt idx="234">
                  <c:v>34.749999999999993</c:v>
                </c:pt>
                <c:pt idx="235">
                  <c:v>35.4</c:v>
                </c:pt>
                <c:pt idx="236">
                  <c:v>36.050000000000011</c:v>
                </c:pt>
                <c:pt idx="237">
                  <c:v>36.699999999999996</c:v>
                </c:pt>
                <c:pt idx="238">
                  <c:v>37.350000000000009</c:v>
                </c:pt>
                <c:pt idx="239">
                  <c:v>37.999999999999993</c:v>
                </c:pt>
              </c:numCache>
            </c:numRef>
          </c:yVal>
          <c:bubbleSize>
            <c:numRef>
              <c:f>'D0 - Promotions'!$CN$6:$CN$245</c:f>
              <c:numCache>
                <c:formatCode>0%</c:formatCode>
                <c:ptCount val="240"/>
                <c:pt idx="0">
                  <c:v>8.3333333333333332E-3</c:v>
                </c:pt>
                <c:pt idx="1">
                  <c:v>4.7619047619047623E-3</c:v>
                </c:pt>
                <c:pt idx="2">
                  <c:v>1.1904761904761906E-3</c:v>
                </c:pt>
                <c:pt idx="3">
                  <c:v>0.57499999999999996</c:v>
                </c:pt>
                <c:pt idx="4">
                  <c:v>0.17142857142857143</c:v>
                </c:pt>
                <c:pt idx="5">
                  <c:v>0.10238095238095238</c:v>
                </c:pt>
                <c:pt idx="6">
                  <c:v>0.05</c:v>
                </c:pt>
                <c:pt idx="7">
                  <c:v>2.976190476190476E-2</c:v>
                </c:pt>
                <c:pt idx="8">
                  <c:v>3.3333333333333333E-2</c:v>
                </c:pt>
                <c:pt idx="9">
                  <c:v>9.5238095238095247E-3</c:v>
                </c:pt>
                <c:pt idx="10">
                  <c:v>7.1428571428571426E-3</c:v>
                </c:pt>
                <c:pt idx="11">
                  <c:v>0</c:v>
                </c:pt>
                <c:pt idx="12">
                  <c:v>1.1904761904761906E-3</c:v>
                </c:pt>
                <c:pt idx="13">
                  <c:v>2.3809523809523812E-3</c:v>
                </c:pt>
                <c:pt idx="14">
                  <c:v>1.1904761904761906E-3</c:v>
                </c:pt>
                <c:pt idx="15">
                  <c:v>0</c:v>
                </c:pt>
                <c:pt idx="16">
                  <c:v>1.1904761904761906E-3</c:v>
                </c:pt>
                <c:pt idx="17">
                  <c:v>0</c:v>
                </c:pt>
                <c:pt idx="18">
                  <c:v>1.1904761904761906E-3</c:v>
                </c:pt>
                <c:pt idx="19">
                  <c:v>0</c:v>
                </c:pt>
                <c:pt idx="20">
                  <c:v>1.0638297872340425E-2</c:v>
                </c:pt>
                <c:pt idx="21">
                  <c:v>4.7281323877068557E-3</c:v>
                </c:pt>
                <c:pt idx="22">
                  <c:v>1.1820330969267139E-3</c:v>
                </c:pt>
                <c:pt idx="23">
                  <c:v>0.56619385342789597</c:v>
                </c:pt>
                <c:pt idx="24">
                  <c:v>0.17375886524822695</c:v>
                </c:pt>
                <c:pt idx="25">
                  <c:v>0.10047281323877069</c:v>
                </c:pt>
                <c:pt idx="26">
                  <c:v>5.0827423167848697E-2</c:v>
                </c:pt>
                <c:pt idx="27">
                  <c:v>3.0732860520094562E-2</c:v>
                </c:pt>
                <c:pt idx="28">
                  <c:v>3.5460992907801421E-2</c:v>
                </c:pt>
                <c:pt idx="29">
                  <c:v>9.4562647754137114E-3</c:v>
                </c:pt>
                <c:pt idx="30">
                  <c:v>8.2742316784869974E-3</c:v>
                </c:pt>
                <c:pt idx="31">
                  <c:v>0</c:v>
                </c:pt>
                <c:pt idx="32">
                  <c:v>1.1820330969267139E-3</c:v>
                </c:pt>
                <c:pt idx="33">
                  <c:v>2.3640661938534278E-3</c:v>
                </c:pt>
                <c:pt idx="34">
                  <c:v>1.1820330969267139E-3</c:v>
                </c:pt>
                <c:pt idx="35">
                  <c:v>0</c:v>
                </c:pt>
                <c:pt idx="36">
                  <c:v>1.1820330969267139E-3</c:v>
                </c:pt>
                <c:pt idx="37">
                  <c:v>0</c:v>
                </c:pt>
                <c:pt idx="38">
                  <c:v>1.1820330969267139E-3</c:v>
                </c:pt>
                <c:pt idx="39">
                  <c:v>0</c:v>
                </c:pt>
                <c:pt idx="40">
                  <c:v>7.0339976553341153E-3</c:v>
                </c:pt>
                <c:pt idx="41">
                  <c:v>4.6893317702227429E-3</c:v>
                </c:pt>
                <c:pt idx="42">
                  <c:v>1.1723329425556857E-3</c:v>
                </c:pt>
                <c:pt idx="43">
                  <c:v>0.65650644783118406</c:v>
                </c:pt>
                <c:pt idx="44">
                  <c:v>0.123094958968347</c:v>
                </c:pt>
                <c:pt idx="45">
                  <c:v>8.792497069167643E-2</c:v>
                </c:pt>
                <c:pt idx="46">
                  <c:v>3.8686987104337635E-2</c:v>
                </c:pt>
                <c:pt idx="47">
                  <c:v>3.048065650644783E-2</c:v>
                </c:pt>
                <c:pt idx="48">
                  <c:v>2.5791324736225089E-2</c:v>
                </c:pt>
                <c:pt idx="49">
                  <c:v>1.0550996483001172E-2</c:v>
                </c:pt>
                <c:pt idx="50">
                  <c:v>8.2063305978898014E-3</c:v>
                </c:pt>
                <c:pt idx="51">
                  <c:v>0</c:v>
                </c:pt>
                <c:pt idx="52">
                  <c:v>1.1723329425556857E-3</c:v>
                </c:pt>
                <c:pt idx="53">
                  <c:v>2.3446658851113715E-3</c:v>
                </c:pt>
                <c:pt idx="54">
                  <c:v>1.1723329425556857E-3</c:v>
                </c:pt>
                <c:pt idx="55">
                  <c:v>0</c:v>
                </c:pt>
                <c:pt idx="56">
                  <c:v>1.1723329425556857E-3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7.1343638525564806E-3</c:v>
                </c:pt>
                <c:pt idx="61">
                  <c:v>3.5671819262782403E-3</c:v>
                </c:pt>
                <c:pt idx="62">
                  <c:v>1.1890606420927466E-3</c:v>
                </c:pt>
                <c:pt idx="63">
                  <c:v>0.6504161712247325</c:v>
                </c:pt>
                <c:pt idx="64">
                  <c:v>0.12604042806183116</c:v>
                </c:pt>
                <c:pt idx="65">
                  <c:v>8.0856123662306781E-2</c:v>
                </c:pt>
                <c:pt idx="66">
                  <c:v>4.2806183115338882E-2</c:v>
                </c:pt>
                <c:pt idx="67">
                  <c:v>3.2104637336504163E-2</c:v>
                </c:pt>
                <c:pt idx="68">
                  <c:v>2.9726516052318668E-2</c:v>
                </c:pt>
                <c:pt idx="69">
                  <c:v>1.1890606420927468E-2</c:v>
                </c:pt>
                <c:pt idx="70">
                  <c:v>7.1343638525564806E-3</c:v>
                </c:pt>
                <c:pt idx="71">
                  <c:v>1.1890606420927466E-3</c:v>
                </c:pt>
                <c:pt idx="72">
                  <c:v>1.1890606420927466E-3</c:v>
                </c:pt>
                <c:pt idx="73">
                  <c:v>2.3781212841854932E-3</c:v>
                </c:pt>
                <c:pt idx="74">
                  <c:v>1.1890606420927466E-3</c:v>
                </c:pt>
                <c:pt idx="75">
                  <c:v>0</c:v>
                </c:pt>
                <c:pt idx="76">
                  <c:v>1.1890606420927466E-3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9.4562647754137114E-3</c:v>
                </c:pt>
                <c:pt idx="81">
                  <c:v>5.9101654846335696E-3</c:v>
                </c:pt>
                <c:pt idx="82">
                  <c:v>2.3640661938534278E-3</c:v>
                </c:pt>
                <c:pt idx="83">
                  <c:v>0.55673758865248224</c:v>
                </c:pt>
                <c:pt idx="84">
                  <c:v>0.16666666666666666</c:v>
                </c:pt>
                <c:pt idx="85">
                  <c:v>0.10047281323877069</c:v>
                </c:pt>
                <c:pt idx="86">
                  <c:v>5.4373522458628844E-2</c:v>
                </c:pt>
                <c:pt idx="87">
                  <c:v>3.7825059101654845E-2</c:v>
                </c:pt>
                <c:pt idx="88">
                  <c:v>3.664302600472813E-2</c:v>
                </c:pt>
                <c:pt idx="89">
                  <c:v>1.3002364066193853E-2</c:v>
                </c:pt>
                <c:pt idx="90">
                  <c:v>8.2742316784869974E-3</c:v>
                </c:pt>
                <c:pt idx="91">
                  <c:v>1.1820330969267139E-3</c:v>
                </c:pt>
                <c:pt idx="92">
                  <c:v>1.1820330969267139E-3</c:v>
                </c:pt>
                <c:pt idx="93">
                  <c:v>2.3640661938534278E-3</c:v>
                </c:pt>
                <c:pt idx="94">
                  <c:v>1.1820330969267139E-3</c:v>
                </c:pt>
                <c:pt idx="95">
                  <c:v>0</c:v>
                </c:pt>
                <c:pt idx="96">
                  <c:v>1.1820330969267139E-3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6.2893081761006293E-3</c:v>
                </c:pt>
                <c:pt idx="101">
                  <c:v>5.2410901467505244E-3</c:v>
                </c:pt>
                <c:pt idx="102">
                  <c:v>2.0964360587002098E-3</c:v>
                </c:pt>
                <c:pt idx="103">
                  <c:v>0.5765199161425576</c:v>
                </c:pt>
                <c:pt idx="104">
                  <c:v>0.16876310272536688</c:v>
                </c:pt>
                <c:pt idx="105">
                  <c:v>9.9580712788259959E-2</c:v>
                </c:pt>
                <c:pt idx="106">
                  <c:v>5.0314465408805034E-2</c:v>
                </c:pt>
                <c:pt idx="107">
                  <c:v>3.1446540880503145E-2</c:v>
                </c:pt>
                <c:pt idx="108">
                  <c:v>3.2494758909853247E-2</c:v>
                </c:pt>
                <c:pt idx="109">
                  <c:v>1.0482180293501049E-2</c:v>
                </c:pt>
                <c:pt idx="110">
                  <c:v>9.433962264150943E-3</c:v>
                </c:pt>
                <c:pt idx="111">
                  <c:v>1.0482180293501049E-3</c:v>
                </c:pt>
                <c:pt idx="112">
                  <c:v>1.0482180293501049E-3</c:v>
                </c:pt>
                <c:pt idx="113">
                  <c:v>2.0964360587002098E-3</c:v>
                </c:pt>
                <c:pt idx="114">
                  <c:v>1.0482180293501049E-3</c:v>
                </c:pt>
                <c:pt idx="115">
                  <c:v>0</c:v>
                </c:pt>
                <c:pt idx="116">
                  <c:v>1.0482180293501049E-3</c:v>
                </c:pt>
                <c:pt idx="117">
                  <c:v>0</c:v>
                </c:pt>
                <c:pt idx="118">
                  <c:v>0</c:v>
                </c:pt>
                <c:pt idx="119">
                  <c:v>0</c:v>
                </c:pt>
                <c:pt idx="120">
                  <c:v>1.0121457489878543E-2</c:v>
                </c:pt>
                <c:pt idx="121">
                  <c:v>7.0850202429149798E-3</c:v>
                </c:pt>
                <c:pt idx="122">
                  <c:v>2.0242914979757085E-3</c:v>
                </c:pt>
                <c:pt idx="123">
                  <c:v>0.5748987854251012</c:v>
                </c:pt>
                <c:pt idx="124">
                  <c:v>0.16902834008097167</c:v>
                </c:pt>
                <c:pt idx="125">
                  <c:v>0.10526315789473684</c:v>
                </c:pt>
                <c:pt idx="126">
                  <c:v>4.5546558704453441E-2</c:v>
                </c:pt>
                <c:pt idx="127">
                  <c:v>2.7327935222672066E-2</c:v>
                </c:pt>
                <c:pt idx="128">
                  <c:v>3.137651821862348E-2</c:v>
                </c:pt>
                <c:pt idx="129">
                  <c:v>1.1133603238866396E-2</c:v>
                </c:pt>
                <c:pt idx="130">
                  <c:v>9.1093117408906875E-3</c:v>
                </c:pt>
                <c:pt idx="131">
                  <c:v>1.0121457489878543E-3</c:v>
                </c:pt>
                <c:pt idx="132">
                  <c:v>1.0121457489878543E-3</c:v>
                </c:pt>
                <c:pt idx="133">
                  <c:v>2.0242914979757085E-3</c:v>
                </c:pt>
                <c:pt idx="134">
                  <c:v>1.0121457489878543E-3</c:v>
                </c:pt>
                <c:pt idx="135">
                  <c:v>0</c:v>
                </c:pt>
                <c:pt idx="136">
                  <c:v>1.0121457489878543E-3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0">
                  <c:v>1.079913606911447E-2</c:v>
                </c:pt>
                <c:pt idx="141">
                  <c:v>5.3995680345572351E-3</c:v>
                </c:pt>
                <c:pt idx="142">
                  <c:v>1.0799136069114472E-3</c:v>
                </c:pt>
                <c:pt idx="143">
                  <c:v>0.74406047516198703</c:v>
                </c:pt>
                <c:pt idx="144">
                  <c:v>6.8034557235421164E-2</c:v>
                </c:pt>
                <c:pt idx="145">
                  <c:v>4.9676025917926567E-2</c:v>
                </c:pt>
                <c:pt idx="146">
                  <c:v>3.4557235421166309E-2</c:v>
                </c:pt>
                <c:pt idx="147">
                  <c:v>2.8077753779697623E-2</c:v>
                </c:pt>
                <c:pt idx="148">
                  <c:v>3.0237580993520519E-2</c:v>
                </c:pt>
                <c:pt idx="149">
                  <c:v>1.1879049676025918E-2</c:v>
                </c:pt>
                <c:pt idx="150">
                  <c:v>8.6393088552915772E-3</c:v>
                </c:pt>
                <c:pt idx="151">
                  <c:v>1.0799136069114472E-3</c:v>
                </c:pt>
                <c:pt idx="152">
                  <c:v>1.0799136069114472E-3</c:v>
                </c:pt>
                <c:pt idx="153">
                  <c:v>2.1598272138228943E-3</c:v>
                </c:pt>
                <c:pt idx="154">
                  <c:v>1.0799136069114472E-3</c:v>
                </c:pt>
                <c:pt idx="155">
                  <c:v>0</c:v>
                </c:pt>
                <c:pt idx="156">
                  <c:v>1.0799136069114472E-3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1.1574074074074073E-2</c:v>
                </c:pt>
                <c:pt idx="161">
                  <c:v>5.7870370370370367E-3</c:v>
                </c:pt>
                <c:pt idx="162">
                  <c:v>1.1574074074074073E-3</c:v>
                </c:pt>
                <c:pt idx="163">
                  <c:v>0.72453703703703709</c:v>
                </c:pt>
                <c:pt idx="164">
                  <c:v>7.1759259259259259E-2</c:v>
                </c:pt>
                <c:pt idx="165">
                  <c:v>5.3240740740740741E-2</c:v>
                </c:pt>
                <c:pt idx="166">
                  <c:v>3.8194444444444448E-2</c:v>
                </c:pt>
                <c:pt idx="167">
                  <c:v>3.2407407407407406E-2</c:v>
                </c:pt>
                <c:pt idx="168">
                  <c:v>3.2407407407407406E-2</c:v>
                </c:pt>
                <c:pt idx="169">
                  <c:v>1.1574074074074073E-2</c:v>
                </c:pt>
                <c:pt idx="170">
                  <c:v>9.2592592592592587E-3</c:v>
                </c:pt>
                <c:pt idx="171">
                  <c:v>1.1574074074074073E-3</c:v>
                </c:pt>
                <c:pt idx="172">
                  <c:v>1.1574074074074073E-3</c:v>
                </c:pt>
                <c:pt idx="173">
                  <c:v>2.3148148148148147E-3</c:v>
                </c:pt>
                <c:pt idx="174">
                  <c:v>1.1574074074074073E-3</c:v>
                </c:pt>
                <c:pt idx="175">
                  <c:v>0</c:v>
                </c:pt>
                <c:pt idx="176">
                  <c:v>1.1574074074074073E-3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1.0172939979654121E-2</c:v>
                </c:pt>
                <c:pt idx="181">
                  <c:v>5.0864699898270603E-3</c:v>
                </c:pt>
                <c:pt idx="182">
                  <c:v>1.017293997965412E-3</c:v>
                </c:pt>
                <c:pt idx="183">
                  <c:v>0.57884028484231942</c:v>
                </c:pt>
                <c:pt idx="184">
                  <c:v>0.17192268565615462</c:v>
                </c:pt>
                <c:pt idx="185">
                  <c:v>9.8677517802644971E-2</c:v>
                </c:pt>
                <c:pt idx="186">
                  <c:v>4.6795523906408953E-2</c:v>
                </c:pt>
                <c:pt idx="187">
                  <c:v>3.1536113936927769E-2</c:v>
                </c:pt>
                <c:pt idx="188">
                  <c:v>2.9501525940996948E-2</c:v>
                </c:pt>
                <c:pt idx="189">
                  <c:v>1.0172939979654121E-2</c:v>
                </c:pt>
                <c:pt idx="190">
                  <c:v>9.1556459816887082E-3</c:v>
                </c:pt>
                <c:pt idx="191">
                  <c:v>1.017293997965412E-3</c:v>
                </c:pt>
                <c:pt idx="192">
                  <c:v>1.017293997965412E-3</c:v>
                </c:pt>
                <c:pt idx="193">
                  <c:v>2.0345879959308239E-3</c:v>
                </c:pt>
                <c:pt idx="194">
                  <c:v>1.017293997965412E-3</c:v>
                </c:pt>
                <c:pt idx="195">
                  <c:v>0</c:v>
                </c:pt>
                <c:pt idx="196">
                  <c:v>1.017293997965412E-3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9.9601593625498006E-3</c:v>
                </c:pt>
                <c:pt idx="201">
                  <c:v>4.9800796812749003E-3</c:v>
                </c:pt>
                <c:pt idx="202">
                  <c:v>1.9920318725099601E-3</c:v>
                </c:pt>
                <c:pt idx="203">
                  <c:v>0.58067729083665343</c:v>
                </c:pt>
                <c:pt idx="204">
                  <c:v>0.1752988047808765</c:v>
                </c:pt>
                <c:pt idx="205">
                  <c:v>0.10159362549800798</c:v>
                </c:pt>
                <c:pt idx="206">
                  <c:v>4.4820717131474105E-2</c:v>
                </c:pt>
                <c:pt idx="207">
                  <c:v>2.7888446215139442E-2</c:v>
                </c:pt>
                <c:pt idx="208">
                  <c:v>2.9880478087649404E-2</c:v>
                </c:pt>
                <c:pt idx="209">
                  <c:v>7.9681274900398405E-3</c:v>
                </c:pt>
                <c:pt idx="210">
                  <c:v>7.9681274900398405E-3</c:v>
                </c:pt>
                <c:pt idx="211">
                  <c:v>9.9601593625498006E-4</c:v>
                </c:pt>
                <c:pt idx="212">
                  <c:v>9.9601593625498006E-4</c:v>
                </c:pt>
                <c:pt idx="213">
                  <c:v>1.9920318725099601E-3</c:v>
                </c:pt>
                <c:pt idx="214">
                  <c:v>9.9601593625498006E-4</c:v>
                </c:pt>
                <c:pt idx="215">
                  <c:v>0</c:v>
                </c:pt>
                <c:pt idx="216">
                  <c:v>9.9601593625498006E-4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1.1190233977619531E-2</c:v>
                </c:pt>
                <c:pt idx="221">
                  <c:v>5.0864699898270603E-3</c:v>
                </c:pt>
                <c:pt idx="222">
                  <c:v>2.0345879959308239E-3</c:v>
                </c:pt>
                <c:pt idx="223">
                  <c:v>0.57578840284842314</c:v>
                </c:pt>
                <c:pt idx="224">
                  <c:v>0.17395727365208546</c:v>
                </c:pt>
                <c:pt idx="225">
                  <c:v>0.10579857578840285</c:v>
                </c:pt>
                <c:pt idx="226">
                  <c:v>4.4760935910478125E-2</c:v>
                </c:pt>
                <c:pt idx="227">
                  <c:v>2.6449643947100712E-2</c:v>
                </c:pt>
                <c:pt idx="228">
                  <c:v>2.7466937945066123E-2</c:v>
                </c:pt>
                <c:pt idx="229">
                  <c:v>1.1190233977619531E-2</c:v>
                </c:pt>
                <c:pt idx="230">
                  <c:v>8.1383519837232958E-3</c:v>
                </c:pt>
                <c:pt idx="231">
                  <c:v>1.017293997965412E-3</c:v>
                </c:pt>
                <c:pt idx="232">
                  <c:v>1.017293997965412E-3</c:v>
                </c:pt>
                <c:pt idx="233">
                  <c:v>2.0345879959308239E-3</c:v>
                </c:pt>
                <c:pt idx="234">
                  <c:v>1.017293997965412E-3</c:v>
                </c:pt>
                <c:pt idx="235">
                  <c:v>0</c:v>
                </c:pt>
                <c:pt idx="236">
                  <c:v>1.017293997965412E-3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0-1086-4B4C-BFB8-425DBE1CBA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20"/>
        <c:showNegBubbles val="0"/>
        <c:axId val="1658987535"/>
        <c:axId val="1658988015"/>
      </c:bubbleChart>
      <c:valAx>
        <c:axId val="1658987535"/>
        <c:scaling>
          <c:orientation val="minMax"/>
          <c:max val="13"/>
          <c:min val="0"/>
        </c:scaling>
        <c:delete val="1"/>
        <c:axPos val="b"/>
        <c:numFmt formatCode="General" sourceLinked="1"/>
        <c:majorTickMark val="none"/>
        <c:minorTickMark val="none"/>
        <c:tickLblPos val="nextTo"/>
        <c:crossAx val="1658988015"/>
        <c:crosses val="autoZero"/>
        <c:crossBetween val="midCat"/>
      </c:valAx>
      <c:valAx>
        <c:axId val="16589880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FR" b="1"/>
                  <a:t>Prix /L avant impot</a:t>
                </a:r>
              </a:p>
            </c:rich>
          </c:tx>
          <c:layout>
            <c:manualLayout>
              <c:xMode val="edge"/>
              <c:yMode val="edge"/>
              <c:x val="2.7594202697018263E-3"/>
              <c:y val="0.3049822241971704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#,##0&quot;€&quot;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658987535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/>
      </a:pPr>
      <a:endParaRPr lang="fr-FR"/>
    </a:p>
  </c:txPr>
  <c:externalData r:id="rId3">
    <c:autoUpdate val="1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2403286317403983E-2"/>
          <c:y val="3.4310766844797315E-2"/>
          <c:w val="0.8498689629352304"/>
          <c:h val="0.740812487499587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D0 - Promotions'!$CR$5</c:f>
              <c:strCache>
                <c:ptCount val="1"/>
                <c:pt idx="0">
                  <c:v>Promo %</c:v>
                </c:pt>
              </c:strCache>
            </c:strRef>
          </c:tx>
          <c:spPr>
            <a:solidFill>
              <a:srgbClr val="868A96">
                <a:alpha val="20000"/>
              </a:srgbClr>
            </a:solidFill>
            <a:ln>
              <a:noFill/>
            </a:ln>
            <a:effectLst/>
          </c:spPr>
          <c:invertIfNegative val="0"/>
          <c:dLbls>
            <c:numFmt formatCode="0%;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D0 - Promotions'!$CQ$6:$CQ$17</c:f>
              <c:numCache>
                <c:formatCode>General</c:formatCode>
                <c:ptCount val="12"/>
                <c:pt idx="0">
                  <c:v>20250616</c:v>
                </c:pt>
                <c:pt idx="1">
                  <c:v>20250623</c:v>
                </c:pt>
                <c:pt idx="2">
                  <c:v>20250630</c:v>
                </c:pt>
                <c:pt idx="3">
                  <c:v>20250707</c:v>
                </c:pt>
                <c:pt idx="4">
                  <c:v>20250714</c:v>
                </c:pt>
                <c:pt idx="5">
                  <c:v>20250721</c:v>
                </c:pt>
                <c:pt idx="6">
                  <c:v>20250728</c:v>
                </c:pt>
                <c:pt idx="7">
                  <c:v>20250804</c:v>
                </c:pt>
                <c:pt idx="8">
                  <c:v>20250811</c:v>
                </c:pt>
                <c:pt idx="9">
                  <c:v>20250818</c:v>
                </c:pt>
                <c:pt idx="10">
                  <c:v>20250825</c:v>
                </c:pt>
                <c:pt idx="11">
                  <c:v>20250901</c:v>
                </c:pt>
              </c:numCache>
            </c:numRef>
          </c:cat>
          <c:val>
            <c:numRef>
              <c:f>'D0 - Promotions'!$CR$6:$CR$17</c:f>
              <c:numCache>
                <c:formatCode>0%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.82222222222222219</c:v>
                </c:pt>
                <c:pt idx="4">
                  <c:v>0.75862068965517238</c:v>
                </c:pt>
                <c:pt idx="5">
                  <c:v>0.19230769230769232</c:v>
                </c:pt>
                <c:pt idx="6">
                  <c:v>0.36363636363636365</c:v>
                </c:pt>
                <c:pt idx="7">
                  <c:v>0.2982456140350877</c:v>
                </c:pt>
                <c:pt idx="8">
                  <c:v>0.32038834951456313</c:v>
                </c:pt>
                <c:pt idx="9">
                  <c:v>0.11764705882352941</c:v>
                </c:pt>
                <c:pt idx="10">
                  <c:v>0.18478260869565216</c:v>
                </c:pt>
                <c:pt idx="1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9EA-4AE6-8901-A1FCBEE730F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-27"/>
        <c:axId val="1543007695"/>
        <c:axId val="1543015375"/>
      </c:barChart>
      <c:catAx>
        <c:axId val="154300769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543015375"/>
        <c:crosses val="autoZero"/>
        <c:auto val="1"/>
        <c:lblAlgn val="ctr"/>
        <c:lblOffset val="100"/>
        <c:noMultiLvlLbl val="0"/>
      </c:catAx>
      <c:valAx>
        <c:axId val="1543015375"/>
        <c:scaling>
          <c:orientation val="minMax"/>
          <c:max val="1"/>
          <c:min val="0"/>
        </c:scaling>
        <c:delete val="1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FR" b="1" dirty="0"/>
                  <a:t>Part</a:t>
                </a:r>
                <a:r>
                  <a:rPr lang="fr-FR" b="1" baseline="0" dirty="0"/>
                  <a:t> des magasins adressés en promotion</a:t>
                </a:r>
                <a:endParaRPr lang="fr-FR" b="1" dirty="0"/>
              </a:p>
            </c:rich>
          </c:tx>
          <c:layout>
            <c:manualLayout>
              <c:xMode val="edge"/>
              <c:yMode val="edge"/>
              <c:x val="0.96469336574297915"/>
              <c:y val="7.0872327791105402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0%" sourceLinked="1"/>
        <c:majorTickMark val="none"/>
        <c:minorTickMark val="none"/>
        <c:tickLblPos val="high"/>
        <c:crossAx val="154300769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200"/>
      </a:pPr>
      <a:endParaRPr lang="fr-FR"/>
    </a:p>
  </c:txPr>
  <c:externalData r:id="rId3">
    <c:autoUpdate val="1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06E7438-13D2-419A-9932-DFB9ED1638C8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FCC6542-D4F9-462D-AAE5-C725B1FDD1F0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231020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0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6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7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7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7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7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7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7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7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7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3.xml"/><Relationship Id="rId1" Type="http://schemas.openxmlformats.org/officeDocument/2006/relationships/notesMaster" Target="../notesMasters/notesMaster1.xml"/></Relationships>
</file>

<file path=ppt/notesSlides/_rels/notesSlide7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5.xml"/><Relationship Id="rId1" Type="http://schemas.openxmlformats.org/officeDocument/2006/relationships/notesMaster" Target="../notesMasters/notesMaster1.xml"/></Relationships>
</file>

<file path=ppt/notesSlides/_rels/notesSlide8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6.xml"/><Relationship Id="rId1" Type="http://schemas.openxmlformats.org/officeDocument/2006/relationships/notesMaster" Target="../notesMasters/notesMaster1.xml"/></Relationships>
</file>

<file path=ppt/notesSlides/_rels/notesSlide8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7.xml"/><Relationship Id="rId1" Type="http://schemas.openxmlformats.org/officeDocument/2006/relationships/notesMaster" Target="../notesMasters/notesMaster1.xml"/></Relationships>
</file>

<file path=ppt/notesSlides/_rels/notesSlide8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8.xml"/><Relationship Id="rId1" Type="http://schemas.openxmlformats.org/officeDocument/2006/relationships/notesMaster" Target="../notesMasters/notesMaster1.xml"/></Relationships>
</file>

<file path=ppt/notesSlides/_rels/notesSlide8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9.xml"/><Relationship Id="rId1" Type="http://schemas.openxmlformats.org/officeDocument/2006/relationships/notesMaster" Target="../notesMasters/notesMaster1.xml"/></Relationships>
</file>

<file path=ppt/notesSlides/_rels/notesSlide8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0.xml"/><Relationship Id="rId1" Type="http://schemas.openxmlformats.org/officeDocument/2006/relationships/notesMaster" Target="../notesMasters/notesMaster1.xml"/></Relationships>
</file>

<file path=ppt/notesSlides/_rels/notesSlide8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1.xml"/><Relationship Id="rId1" Type="http://schemas.openxmlformats.org/officeDocument/2006/relationships/notesMaster" Target="../notesMasters/notesMaster1.xml"/></Relationships>
</file>

<file path=ppt/notesSlides/_rels/notesSlide8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2.xml"/><Relationship Id="rId1" Type="http://schemas.openxmlformats.org/officeDocument/2006/relationships/notesMaster" Target="../notesMasters/notesMaster1.xml"/></Relationships>
</file>

<file path=ppt/notesSlides/_rels/notesSlide8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3.xml"/><Relationship Id="rId1" Type="http://schemas.openxmlformats.org/officeDocument/2006/relationships/notesMaster" Target="../notesMasters/notesMaster1.xml"/></Relationships>
</file>

<file path=ppt/notesSlides/_rels/notesSlide8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5.xml"/><Relationship Id="rId1" Type="http://schemas.openxmlformats.org/officeDocument/2006/relationships/notesMaster" Target="../notesMasters/notesMaster1.xml"/></Relationships>
</file>

<file path=ppt/notesSlides/_rels/notesSlide9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6.xml"/><Relationship Id="rId1" Type="http://schemas.openxmlformats.org/officeDocument/2006/relationships/notesMaster" Target="../notesMasters/notesMaster1.xml"/></Relationships>
</file>

<file path=ppt/notesSlides/_rels/notesSlide9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7.xml"/><Relationship Id="rId1" Type="http://schemas.openxmlformats.org/officeDocument/2006/relationships/notesMaster" Target="../notesMasters/notesMaster1.xml"/></Relationships>
</file>

<file path=ppt/notesSlides/_rels/notesSlide9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8.xml"/><Relationship Id="rId1" Type="http://schemas.openxmlformats.org/officeDocument/2006/relationships/notesMaster" Target="../notesMasters/notesMaster1.xml"/></Relationships>
</file>

<file path=ppt/notesSlides/_rels/notesSlide9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9.xml"/><Relationship Id="rId1" Type="http://schemas.openxmlformats.org/officeDocument/2006/relationships/notesMaster" Target="../notesMasters/notesMaster1.xml"/></Relationships>
</file>

<file path=ppt/notesSlides/_rels/notesSlide9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0.xml"/><Relationship Id="rId1" Type="http://schemas.openxmlformats.org/officeDocument/2006/relationships/notesMaster" Target="../notesMasters/notesMaster1.xml"/></Relationships>
</file>

<file path=ppt/notesSlides/_rels/notesSlide9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1.xml"/><Relationship Id="rId1" Type="http://schemas.openxmlformats.org/officeDocument/2006/relationships/notesMaster" Target="../notesMasters/notesMaster1.xml"/></Relationships>
</file>

<file path=ppt/notesSlides/_rels/notesSlide9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2.xml"/><Relationship Id="rId1" Type="http://schemas.openxmlformats.org/officeDocument/2006/relationships/notesMaster" Target="../notesMasters/notesMaster1.xml"/></Relationships>
</file>

<file path=ppt/notesSlides/_rels/notesSlide9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3.xml"/><Relationship Id="rId1" Type="http://schemas.openxmlformats.org/officeDocument/2006/relationships/notesMaster" Target="../notesMasters/notesMaster1.xml"/></Relationships>
</file>

<file path=ppt/notesSlides/_rels/notesSlide9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50EEC1-9E56-2963-5702-A9CA8F819B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6DAB024-1EC8-568B-4756-644F508CE12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08E99FB-938A-58A9-6058-086C1EFE25F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34087D7-5641-813F-F7FB-26534543F7B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4865775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A674AF-0438-03D0-9CE3-188983CD03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3F2882B-F11B-AD9D-F998-DF32E6605A7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ECF30A3-CCF9-6687-7D3D-BCC6C6DDFC7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E4991AE-9797-EF14-7558-7AC10B45A5F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1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59971691"/>
      </p:ext>
    </p:extLst>
  </p:cSld>
  <p:clrMapOvr>
    <a:masterClrMapping/>
  </p:clrMapOvr>
</p:notes>
</file>

<file path=ppt/notesSlides/notesSlide10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54699B8-71A8-E641-451B-B55BEDE410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AC6A473-B60A-ED56-45EF-36D87401AF7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567A92A-EF58-4849-3F21-05A02B26FC7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4AD6D1-6604-0E1F-13E1-1DEBC58CE15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10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3263144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CB39ED-6029-E304-25A7-A5B6D6B960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172BDB4-0551-A1A2-CB92-764865DCBB8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C04C98D-FB95-89D8-405F-5CFF40DE86C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8453C11-6C8A-4768-6793-5669EFA7F14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1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8014538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D56CAA7-2356-8309-8E1B-EE0B7AEC0CA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4C5B4E3-484C-D4FB-9026-285E1C7BE14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A79761B-613C-D8CA-A920-0962ED82DE0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2540F93-8D5F-CF76-73AA-8D84CC76F0A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1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7648148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39A8F12-7879-701C-99D1-AA38AAB335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190342B-497B-AC1B-2227-326952FD6C6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7F1FC43-9383-EE84-830D-97ADBFDF75F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79E3E04-2768-E2DC-03B0-D6AEA01169B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1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2649838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1518963-E0D3-4DB1-7945-04119EDAA1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949C55A-7AA3-391E-2804-C46D51BCF44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630DE9E-8BCD-76F8-5F59-FD18239473C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D475A1-93D5-86A3-B0B0-112781314F5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1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1018942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3D7503A-C518-6F22-D867-6E3513EA42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3C17EA3-B005-BE4E-2E16-05E5845329E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2B5AD5F-07C3-EDE5-101B-6562C469549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476CA3E-213C-157D-4007-BB7536BE375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1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1067793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C5772B-768E-2B6F-D59E-47C1F75695C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C510219-35A7-F974-C359-6E2B385D6EC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2BF5D7C-3829-03D1-AD70-3696F2E9783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0CBC253-30AC-ECBE-58C4-288F83BCFB9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1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913752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0A945F-89E0-E692-69D4-6132CDA3F4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AFFCC02-E4E3-AFD0-8F94-BBF82F1C905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7E193E2-052A-F0BD-7CF9-45AC4E250F5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4720F1A-4E21-ABA1-CFB0-195FF0D098D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2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3255628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663D5E1-0530-2C74-499B-AB2DF74EED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969B45A-155A-61D5-89D0-8B931C86C33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F50987E-5847-B184-B78C-32382FC99D6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0BD46B2-60EE-83F5-255B-D254720C0D2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2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0059812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A3A691-5CFD-2476-A78C-C53EFEE2CC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BDE3EB0-7F97-FFF3-8414-994A195C064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BBAF1A5-EF92-7850-622C-FB14A640339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7336493-C50D-EEF6-9634-286534DA08A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2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172670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10D4FD-B846-15EF-C0BF-DCB2CCC239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F27F189-F4A0-06FD-7276-D2E0AE089C6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11CD796-394D-5782-8F6E-B6F7936D312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3EBBCD1-1589-1BA8-6BE2-9EA47616DA0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1026464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10D4FD-B846-15EF-C0BF-DCB2CCC239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F27F189-F4A0-06FD-7276-D2E0AE089C6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11CD796-394D-5782-8F6E-B6F7936D312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3EBBCD1-1589-1BA8-6BE2-9EA47616DA0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2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5294079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413FC5-7737-83A5-C427-1413BD8AD9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F67D94D-6B3A-E412-80E0-5708F2423A4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F5039D3-8F07-8EB3-275C-957B495B3E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E846041-6B17-8362-7228-BDF2D4142D1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2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1511884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76D0F6-A9E5-E1CC-4421-53366B3392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85B7F78-FA22-DC6A-1CC8-FD058B8C3E4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79E3DE2-54D2-1274-9B46-95215743F48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10362E-CAA0-F373-C60A-9E41ACBFD1C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2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1313161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0903B01-3FE1-976D-5786-F3D458FCE1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8D591E3-4DBD-D9D1-813C-AAE40E12408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164641E-260E-B5F5-768C-DB9D4C40D44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F27F032-9235-5A9A-3AE2-1122AD3D2B2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2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8182156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2A14A8-E0C5-05F2-7DE6-831CA886B4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0450932-98C9-7577-C698-41222CF3E51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6E54AD7-2D1A-5786-242C-E6FA6940F62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5519BD7-735F-535C-E39A-AF1559FEDAA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2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026158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EB5CAF-8E17-7337-70AE-DC7C6B7BED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AAD7A93-70EC-DA81-6FC9-4D005AEB5BB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84BC903-7A57-3505-8C7C-80505B7B31D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78039A1-68D1-7F9A-9475-C28F88D8600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2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1876878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96848F-E5A7-0CF8-F15A-BC797FC8AF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5C01128-B1F2-F743-EDD8-5F357625EBF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0709406-F725-F4B8-250F-60A2A504841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26587EC-58FF-2086-8A47-195BE7C69FD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3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83688990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4F3D87-1B63-7528-B1BD-A709694B05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67DC5DD-6C65-A9EB-6B45-2F03A8D7420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052E44A-04D2-FE3B-F2D1-B5F41119787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6B46ACD-45AA-2EB0-F250-C4506636D51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3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00791248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B9E7BE-FE69-197A-6022-AEA8C815DF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676DB4B-5ECD-3905-94DB-FD1B7C70902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8F913ED-1570-8D8B-436D-16B1E7DCF46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46F16C4-AB14-CE88-B1A7-A75CE91DA93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3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49434028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BE49D1-A6CF-E1DD-BDE9-25A374BA48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A2586FF-F5A6-B8A3-CD7E-1E998552C7A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B5D947B-E290-7574-75F6-BEF1E66C09A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4CC0791-103B-6604-3A5D-D2C76BAE9B4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3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650654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5026307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BE49D1-A6CF-E1DD-BDE9-25A374BA48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A2586FF-F5A6-B8A3-CD7E-1E998552C7A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B5D947B-E290-7574-75F6-BEF1E66C09A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4CC0791-103B-6604-3A5D-D2C76BAE9B4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3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65065412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BE49D1-A6CF-E1DD-BDE9-25A374BA48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A2586FF-F5A6-B8A3-CD7E-1E998552C7A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B5D947B-E290-7574-75F6-BEF1E66C09A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4CC0791-103B-6604-3A5D-D2C76BAE9B4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3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65065412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BE49D1-A6CF-E1DD-BDE9-25A374BA48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A2586FF-F5A6-B8A3-CD7E-1E998552C7A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B5D947B-E290-7574-75F6-BEF1E66C09A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4CC0791-103B-6604-3A5D-D2C76BAE9B4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3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65065412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BE49D1-A6CF-E1DD-BDE9-25A374BA48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A2586FF-F5A6-B8A3-CD7E-1E998552C7A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B5D947B-E290-7574-75F6-BEF1E66C09A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4CC0791-103B-6604-3A5D-D2C76BAE9B4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3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65065412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A44D68-196D-9364-B1BF-DD30E5CFA2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B36F1FA-4D76-1A03-C330-8B839028CFF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F4085AE-6D97-1B60-8DC7-51A5E32C54D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8C20752-0F5D-43ED-2ECC-1F8D5B49BD1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3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89142000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77CC06D-379B-7F91-B176-4A1DE10A70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1336DDA-47A6-D9E6-3D4C-9EF6A4654D7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F58814C-221E-4619-6F56-50190DD41AC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E4B349C-4B12-1F1C-2A6B-EB24DCA102C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3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08464255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FA3616-32A5-1674-5DAC-BA83DC927C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2AB2817-2250-127A-1341-1C5D5B05AB1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7328C6E-D7F8-5B03-1605-85EE3D6E11F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D8066BF-5A04-EDC5-C6C5-1196043367B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4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09435109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F61136-0DCE-949A-A601-6AFD0CFC57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C0BB7AA-73E6-DB49-BB53-4035A3EE7C6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1D31B93-1EA3-D729-7169-CFBE83F33EE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A4704FF-09D8-1766-9E75-87B72F4D9B2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4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28196456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2BA9D5-5F75-F26F-FDD7-44FACBCF9C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373AF71-69AA-6EC7-F8CC-8FDB20E41CF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3C0EFD5-AFBB-6AE6-9BC9-19E1AB0EE39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0F7C50-9A6B-A06E-463C-391D17E42DD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4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27221289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2BA9D5-5F75-F26F-FDD7-44FACBCF9C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373AF71-69AA-6EC7-F8CC-8FDB20E41CF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3C0EFD5-AFBB-6AE6-9BC9-19E1AB0EE39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0F7C50-9A6B-A06E-463C-391D17E42DD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4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272212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D1065C-AF0A-23F1-9CED-06608D69F1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7C84086-4AF4-F99B-62AA-60452ADA435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C610EC6-FB2F-FAC4-2683-52298277339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CCC6FC5-C6E0-C989-704E-9C667F3ED9A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87554445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2BA9D5-5F75-F26F-FDD7-44FACBCF9C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373AF71-69AA-6EC7-F8CC-8FDB20E41CF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3C0EFD5-AFBB-6AE6-9BC9-19E1AB0EE39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0F7C50-9A6B-A06E-463C-391D17E42DD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4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27221289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2BA9D5-5F75-F26F-FDD7-44FACBCF9C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373AF71-69AA-6EC7-F8CC-8FDB20E41CF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3C0EFD5-AFBB-6AE6-9BC9-19E1AB0EE39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0F7C50-9A6B-A06E-463C-391D17E42DD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4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27221289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2BA9D5-5F75-F26F-FDD7-44FACBCF9C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373AF71-69AA-6EC7-F8CC-8FDB20E41CF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3C0EFD5-AFBB-6AE6-9BC9-19E1AB0EE39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0F7C50-9A6B-A06E-463C-391D17E42DD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4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27221289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1A44E7-6FAE-6219-C09D-5A1006450E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A27CAA9-C883-FE62-4570-8084FB5798B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8D4EE38-BE71-7E73-1536-40ED0638815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A9D51A-496F-FD1B-6C5A-5E4797B359A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4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16581460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907C31-1A16-5A43-9264-934C566691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15AAD68-B426-AEA5-BB9E-25D5B9B321A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D749AA2-8136-DF7F-3F17-4FFD0F4D133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B5E2247-4309-7127-EAF0-38F8D415600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4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92662143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AD90FF-32DA-E0C4-CAF1-E4E0DD99A9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5211368-D55D-3978-DB4F-FFC03E0EC82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F7191D2-E0FD-1B87-A626-0540FFF9B60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81F7C0-6E4B-9195-263E-866B4973E3C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5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07177105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27A509D-7DA4-B629-003C-C4F0644E28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4E4722C-B58B-841A-8B09-E67DF787E61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A5AA813-AA9E-28A8-483D-BA5E69E7A33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91B314A-9AB0-5C2E-8752-77C8B51B6C4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5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71150284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B13BC5-E895-96A1-EF28-C9D71102F2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13206B4-052E-14D8-2566-F309A5524D6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F592107-8B46-183D-D47B-85BEFC53F69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E9632E9-A9F5-44AA-0007-7CA9709E05E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5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38274066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497E78-8719-08AC-32D8-78E9A18C0D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4A04C97-F338-8DB3-E3D6-A850E2463AF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999B14B-CDDB-F5CE-5324-C2AB61505CF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AD599F9-A823-6C97-B3EF-5078FCD3B3A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5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99590453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E1CEED-8921-4142-5511-4A5EB414DD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FE5422D-ACA8-76AF-6B0B-22E7222BB3F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4430C14-996B-4BB4-7973-B22FF8A1DF6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897A19-5A6D-32FE-634D-F68D9F670B6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5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0590993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65E937-F3ED-C8EF-1216-4E1ED6D2A7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45FDD27-DC0C-DE80-137F-53C6B86F629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C33FCFF-1175-B9EA-395F-7DA6606DD49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D8942C1-5FDE-8EDE-DF30-05A90A40EBC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55376623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B13BC5-E895-96A1-EF28-C9D71102F2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13206B4-052E-14D8-2566-F309A5524D6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F592107-8B46-183D-D47B-85BEFC53F69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E9632E9-A9F5-44AA-0007-7CA9709E05E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5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38274066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497E78-8719-08AC-32D8-78E9A18C0D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4A04C97-F338-8DB3-E3D6-A850E2463AF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999B14B-CDDB-F5CE-5324-C2AB61505CF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AD599F9-A823-6C97-B3EF-5078FCD3B3A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5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99590453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80ABCE-60AB-F452-CDB6-7E2F7921BD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77BF254-BEB0-D96A-6E6C-CF5073D798C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8E4DFD4-D1C3-C685-CC7F-56E831E4518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EE1F3F9-0EB5-6168-D908-BBCB0643D07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5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85233851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B13BC5-E895-96A1-EF28-C9D71102F2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13206B4-052E-14D8-2566-F309A5524D6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F592107-8B46-183D-D47B-85BEFC53F69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E9632E9-A9F5-44AA-0007-7CA9709E05E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5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38274066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497E78-8719-08AC-32D8-78E9A18C0D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4A04C97-F338-8DB3-E3D6-A850E2463AF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999B14B-CDDB-F5CE-5324-C2AB61505CF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AD599F9-A823-6C97-B3EF-5078FCD3B3A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5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99590453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E705C0-7FB3-7479-5408-3673E5F283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0FB9CB7-DF68-FC7C-52FA-E79D178BC88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ECC124E-F678-5B2E-22D0-D6AB5156AD7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AD7DF12-6477-AEDC-3C73-98764772221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6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84249790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E705C0-7FB3-7479-5408-3673E5F283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0FB9CB7-DF68-FC7C-52FA-E79D178BC88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ECC124E-F678-5B2E-22D0-D6AB5156AD7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AD7DF12-6477-AEDC-3C73-98764772221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6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84249790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E705C0-7FB3-7479-5408-3673E5F283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0FB9CB7-DF68-FC7C-52FA-E79D178BC88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ECC124E-F678-5B2E-22D0-D6AB5156AD7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AD7DF12-6477-AEDC-3C73-98764772221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6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84249790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E705C0-7FB3-7479-5408-3673E5F283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0FB9CB7-DF68-FC7C-52FA-E79D178BC88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ECC124E-F678-5B2E-22D0-D6AB5156AD7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AD7DF12-6477-AEDC-3C73-98764772221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6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84249790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E705C0-7FB3-7479-5408-3673E5F283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0FB9CB7-DF68-FC7C-52FA-E79D178BC88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ECC124E-F678-5B2E-22D0-D6AB5156AD7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AD7DF12-6477-AEDC-3C73-98764772221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6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8424979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97564A-139E-D120-C2E0-1179D1CC11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AED90BE-A07C-20FF-B5A0-C165A56FB13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7CD145C-CE27-14BF-2A99-BA7ACCF966C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3FCAE28-0713-C4F8-67E5-2FFF55699CC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24834103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3D2999-460F-C614-08CB-0F85D13A6F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846C1C8-92BE-75BE-C4E0-97017992470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8DC1D1E-F043-D8FB-3E66-3CEB43B55D2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8A64968-3A9A-9849-129D-F1F08E32FF0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6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31983240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5BC68B-A49A-4807-2BAF-331DF12B6F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C4DF30B-81B7-4E8F-7FE9-83744DE4999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8FE2AD6-6DCB-1B02-317A-94BA0EC9479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9BEEF1-B317-53C6-8D55-E1A320A0237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6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04762632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B13BC5-E895-96A1-EF28-C9D71102F2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13206B4-052E-14D8-2566-F309A5524D6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F592107-8B46-183D-D47B-85BEFC53F69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E9632E9-A9F5-44AA-0007-7CA9709E05E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6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38274066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5D6961-FEEB-170C-D992-E75503CBAB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2B41678-14EF-13AB-80E3-1EA5D231E9A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FAF6549-4831-A587-BFA8-E393FD5C064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2B2E9FB-F1E2-A27D-29EC-53D70CE0860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6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77967766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497E78-8719-08AC-32D8-78E9A18C0D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4A04C97-F338-8DB3-E3D6-A850E2463AF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999B14B-CDDB-F5CE-5324-C2AB61505CF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AD599F9-A823-6C97-B3EF-5078FCD3B3A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6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99590453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BE986E-1ECB-A654-6408-6F9B8D62D3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1F8A6AA-DF63-E3D5-17C0-2A58D2486BC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9B9994E-9FC6-EF86-C0C8-3CB6E0104B4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178A92-9204-FABE-22F0-FD0956CB01E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7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93091312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3D2999-460F-C614-08CB-0F85D13A6F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846C1C8-92BE-75BE-C4E0-97017992470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8DC1D1E-F043-D8FB-3E66-3CEB43B55D2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8A64968-3A9A-9849-129D-F1F08E32FF0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7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31983240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5BC68B-A49A-4807-2BAF-331DF12B6F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C4DF30B-81B7-4E8F-7FE9-83744DE4999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8FE2AD6-6DCB-1B02-317A-94BA0EC9479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9BEEF1-B317-53C6-8D55-E1A320A0237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7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04762632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B13BC5-E895-96A1-EF28-C9D71102F2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13206B4-052E-14D8-2566-F309A5524D6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F592107-8B46-183D-D47B-85BEFC53F69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E9632E9-A9F5-44AA-0007-7CA9709E05E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7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38274066"/>
      </p:ext>
    </p:extLst>
  </p:cSld>
  <p:clrMapOvr>
    <a:masterClrMapping/>
  </p:clrMapOvr>
</p:notes>
</file>

<file path=ppt/notesSlides/notesSlide6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5D6961-FEEB-170C-D992-E75503CBAB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2B41678-14EF-13AB-80E3-1EA5D231E9A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FAF6549-4831-A587-BFA8-E393FD5C064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2B2E9FB-F1E2-A27D-29EC-53D70CE0860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7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7796776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2F343B-D544-3530-8C62-0FEE7B5A00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9520E26-49BE-04D1-E57B-0D750843F37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EECAA05-22FE-8136-AEB6-773AAFB4C91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C1FDF1-7778-67DF-940A-83400DC892A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98380772"/>
      </p:ext>
    </p:extLst>
  </p:cSld>
  <p:clrMapOvr>
    <a:masterClrMapping/>
  </p:clrMapOvr>
</p:notes>
</file>

<file path=ppt/notesSlides/notesSlide7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497E78-8719-08AC-32D8-78E9A18C0D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4A04C97-F338-8DB3-E3D6-A850E2463AF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999B14B-CDDB-F5CE-5324-C2AB61505CF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AD599F9-A823-6C97-B3EF-5078FCD3B3A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7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99590453"/>
      </p:ext>
    </p:extLst>
  </p:cSld>
  <p:clrMapOvr>
    <a:masterClrMapping/>
  </p:clrMapOvr>
</p:notes>
</file>

<file path=ppt/notesSlides/notesSlide7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BF2263C-F6B9-B0DC-2692-18E82AC2D8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280EF16-8436-6761-37A0-62BAE79EA21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441D16E-EC80-FE15-D99B-C987ACC31C1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F1DEE39-AA94-D2E2-BACD-A10BB31F9AA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7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08094145"/>
      </p:ext>
    </p:extLst>
  </p:cSld>
  <p:clrMapOvr>
    <a:masterClrMapping/>
  </p:clrMapOvr>
</p:notes>
</file>

<file path=ppt/notesSlides/notesSlide7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3D2999-460F-C614-08CB-0F85D13A6F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846C1C8-92BE-75BE-C4E0-97017992470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8DC1D1E-F043-D8FB-3E66-3CEB43B55D2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8A64968-3A9A-9849-129D-F1F08E32FF0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7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31983240"/>
      </p:ext>
    </p:extLst>
  </p:cSld>
  <p:clrMapOvr>
    <a:masterClrMapping/>
  </p:clrMapOvr>
</p:notes>
</file>

<file path=ppt/notesSlides/notesSlide7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5BC68B-A49A-4807-2BAF-331DF12B6F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C4DF30B-81B7-4E8F-7FE9-83744DE4999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8FE2AD6-6DCB-1B02-317A-94BA0EC9479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9BEEF1-B317-53C6-8D55-E1A320A0237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7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04762632"/>
      </p:ext>
    </p:extLst>
  </p:cSld>
  <p:clrMapOvr>
    <a:masterClrMapping/>
  </p:clrMapOvr>
</p:notes>
</file>

<file path=ppt/notesSlides/notesSlide7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8294D1-ED91-A74F-4C8B-468EF0E961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C0A2944-E502-7569-A69D-FB90DBC45E6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066A88B-6849-C1CF-89BB-E2BF6057093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47678B-6458-47C7-F3D7-5FDF368273B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7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17691727"/>
      </p:ext>
    </p:extLst>
  </p:cSld>
  <p:clrMapOvr>
    <a:masterClrMapping/>
  </p:clrMapOvr>
</p:notes>
</file>

<file path=ppt/notesSlides/notesSlide7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5D6961-FEEB-170C-D992-E75503CBAB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2B41678-14EF-13AB-80E3-1EA5D231E9A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FAF6549-4831-A587-BFA8-E393FD5C064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2B2E9FB-F1E2-A27D-29EC-53D70CE0860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8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77967766"/>
      </p:ext>
    </p:extLst>
  </p:cSld>
  <p:clrMapOvr>
    <a:masterClrMapping/>
  </p:clrMapOvr>
</p:notes>
</file>

<file path=ppt/notesSlides/notesSlide7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3D2999-460F-C614-08CB-0F85D13A6F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846C1C8-92BE-75BE-C4E0-97017992470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8DC1D1E-F043-D8FB-3E66-3CEB43B55D2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8A64968-3A9A-9849-129D-F1F08E32FF0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8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31983240"/>
      </p:ext>
    </p:extLst>
  </p:cSld>
  <p:clrMapOvr>
    <a:masterClrMapping/>
  </p:clrMapOvr>
</p:notes>
</file>

<file path=ppt/notesSlides/notesSlide7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5BC68B-A49A-4807-2BAF-331DF12B6F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C4DF30B-81B7-4E8F-7FE9-83744DE4999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8FE2AD6-6DCB-1B02-317A-94BA0EC9479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9BEEF1-B317-53C6-8D55-E1A320A0237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8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04762632"/>
      </p:ext>
    </p:extLst>
  </p:cSld>
  <p:clrMapOvr>
    <a:masterClrMapping/>
  </p:clrMapOvr>
</p:notes>
</file>

<file path=ppt/notesSlides/notesSlide7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72D72A6-968C-E9CD-8991-6BCCF0BB01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6FD6216-0AD9-C1C0-9856-6CC23F58084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88234D4-ADF0-D01E-B566-7F5A248C6B1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BA40EE2-8608-0338-0D71-66D656DF00D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8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05650301"/>
      </p:ext>
    </p:extLst>
  </p:cSld>
  <p:clrMapOvr>
    <a:masterClrMapping/>
  </p:clrMapOvr>
</p:notes>
</file>

<file path=ppt/notesSlides/notesSlide7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5D6961-FEEB-170C-D992-E75503CBAB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2B41678-14EF-13AB-80E3-1EA5D231E9A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FAF6549-4831-A587-BFA8-E393FD5C064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2B2E9FB-F1E2-A27D-29EC-53D70CE0860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8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7796776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2AD6852-E3EB-066A-69C6-5969619BB4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4B13410-4E6A-E38F-C180-846C50649A5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B742060-AD9E-EA09-DC5E-17FA195380D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094690-6D66-EBE2-3393-B6FFD215C97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47959860"/>
      </p:ext>
    </p:extLst>
  </p:cSld>
  <p:clrMapOvr>
    <a:masterClrMapping/>
  </p:clrMapOvr>
</p:notes>
</file>

<file path=ppt/notesSlides/notesSlide8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13D46C-7D95-F250-66F4-BA7C115883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24AE9CF-819E-8F29-04CD-BD687643A3D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5493045-DC0B-3980-63EC-7661680019B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AEA5F7D-454F-67BC-8573-CAA90FEE153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8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73269437"/>
      </p:ext>
    </p:extLst>
  </p:cSld>
  <p:clrMapOvr>
    <a:masterClrMapping/>
  </p:clrMapOvr>
</p:notes>
</file>

<file path=ppt/notesSlides/notesSlide8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D97DF9E-787E-E835-5ACE-14A662D096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C1ED321-D464-3EDB-BEE9-A880AB60E8B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EDE76D5-3D82-8926-AC30-3910BA9C938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3C851C6-C1E8-4968-A0FF-8671BE22773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8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90025450"/>
      </p:ext>
    </p:extLst>
  </p:cSld>
  <p:clrMapOvr>
    <a:masterClrMapping/>
  </p:clrMapOvr>
</p:notes>
</file>

<file path=ppt/notesSlides/notesSlide8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3D2999-460F-C614-08CB-0F85D13A6F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846C1C8-92BE-75BE-C4E0-97017992470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8DC1D1E-F043-D8FB-3E66-3CEB43B55D2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8A64968-3A9A-9849-129D-F1F08E32FF0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8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31983240"/>
      </p:ext>
    </p:extLst>
  </p:cSld>
  <p:clrMapOvr>
    <a:masterClrMapping/>
  </p:clrMapOvr>
</p:notes>
</file>

<file path=ppt/notesSlides/notesSlide8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5BC68B-A49A-4807-2BAF-331DF12B6F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C4DF30B-81B7-4E8F-7FE9-83744DE4999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8FE2AD6-6DCB-1B02-317A-94BA0EC9479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9BEEF1-B317-53C6-8D55-E1A320A0237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8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04762632"/>
      </p:ext>
    </p:extLst>
  </p:cSld>
  <p:clrMapOvr>
    <a:masterClrMapping/>
  </p:clrMapOvr>
</p:notes>
</file>

<file path=ppt/notesSlides/notesSlide8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BEC9DF-3EE3-EADE-5855-653EB1FBEC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EA452E5-B056-9403-43F4-DD3FEE2F308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87F579B-A9DF-C7BF-0408-4C5CFDB2351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915489F-94C5-B681-201C-EA344F5EAE0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8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57975869"/>
      </p:ext>
    </p:extLst>
  </p:cSld>
  <p:clrMapOvr>
    <a:masterClrMapping/>
  </p:clrMapOvr>
</p:notes>
</file>

<file path=ppt/notesSlides/notesSlide8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5D6961-FEEB-170C-D992-E75503CBAB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2B41678-14EF-13AB-80E3-1EA5D231E9A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FAF6549-4831-A587-BFA8-E393FD5C064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2B2E9FB-F1E2-A27D-29EC-53D70CE0860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9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77967766"/>
      </p:ext>
    </p:extLst>
  </p:cSld>
  <p:clrMapOvr>
    <a:masterClrMapping/>
  </p:clrMapOvr>
</p:notes>
</file>

<file path=ppt/notesSlides/notesSlide8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F76D2C-C7A0-0751-2B85-A861FBE625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6FBBCA0-4913-EC79-7FC3-1B7733BE94E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5016749-FC64-4CA0-63EC-94ACAC95F4D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7C9D841-D623-432E-7E71-5347C337A4B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9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73397457"/>
      </p:ext>
    </p:extLst>
  </p:cSld>
  <p:clrMapOvr>
    <a:masterClrMapping/>
  </p:clrMapOvr>
</p:notes>
</file>

<file path=ppt/notesSlides/notesSlide8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BD6B9C-34F4-3F7D-B07A-C3AE7B5AD0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D983184-2828-B170-BDF2-261F905D91B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ECD9BCF-A7EE-97EF-9E05-10445868543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659E16E-C0DC-D0C0-A3B7-F8A1D1511EB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9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68184608"/>
      </p:ext>
    </p:extLst>
  </p:cSld>
  <p:clrMapOvr>
    <a:masterClrMapping/>
  </p:clrMapOvr>
</p:notes>
</file>

<file path=ppt/notesSlides/notesSlide8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22FD49-4313-465B-9F3E-644E1B02E0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33E67F6-626D-3AAC-1A19-367FBCFAD5A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3F88EB9-D2A9-921A-C579-5E538AAE0EC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3B41826-D39C-3F8A-E585-780EACA13BE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9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777370"/>
      </p:ext>
    </p:extLst>
  </p:cSld>
  <p:clrMapOvr>
    <a:masterClrMapping/>
  </p:clrMapOvr>
</p:notes>
</file>

<file path=ppt/notesSlides/notesSlide8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1DD6E4-BEB5-96B9-C1D6-E30433731A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8AB1250-DAED-C225-F82F-CA5C0C18B5C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0F15FD9-4BDD-3331-44AC-22CB8634A23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4D01F3B-627D-DF28-1422-9826E328902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9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0070683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0E3C2A-CD3F-1EC5-7ABF-7C23C73011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A14698E-584A-1040-318E-0807830842D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5366AA0-3B1F-5BFD-B33C-488752CABAA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C04E8BB-AB21-484F-C2E8-662B32F20A5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1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46884011"/>
      </p:ext>
    </p:extLst>
  </p:cSld>
  <p:clrMapOvr>
    <a:masterClrMapping/>
  </p:clrMapOvr>
</p:notes>
</file>

<file path=ppt/notesSlides/notesSlide9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016C28A-B228-E232-7327-C6077263D9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DEFCC82-BA8E-1745-60BD-FA3CD3BFE56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2790531-58C5-37CB-7C38-DB768F930D4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B55CB89-C8EC-D95F-EA53-91DBB7D8A2C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9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46710889"/>
      </p:ext>
    </p:extLst>
  </p:cSld>
  <p:clrMapOvr>
    <a:masterClrMapping/>
  </p:clrMapOvr>
</p:notes>
</file>

<file path=ppt/notesSlides/notesSlide9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4CA4F6-0051-7929-DDB2-06F29D471B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99460D2-CC35-D2DD-0C70-8ABDBB52F31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0FD158C-BD17-08A2-5AC6-3143D7EB5FF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5B080F2-1F0D-BCB8-1139-E67955B6D3B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9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79375357"/>
      </p:ext>
    </p:extLst>
  </p:cSld>
  <p:clrMapOvr>
    <a:masterClrMapping/>
  </p:clrMapOvr>
</p:notes>
</file>

<file path=ppt/notesSlides/notesSlide9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54687F-410E-2801-5A04-C3F0F3E9BD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8A83172-2C78-A1EF-94BC-0B006FD965C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A2F5EB6-F75A-E948-DFCA-FB623D02F97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698D499-EA66-7243-C663-582B8AF38FD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9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04989928"/>
      </p:ext>
    </p:extLst>
  </p:cSld>
  <p:clrMapOvr>
    <a:masterClrMapping/>
  </p:clrMapOvr>
</p:notes>
</file>

<file path=ppt/notesSlides/notesSlide9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C77A7F-AD64-B3F2-926C-A2BF73ABF0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269F7E2-9619-3452-DC3E-5FFF11AF974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3195DAE-242C-8B24-D81F-31C552818D7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70E59B-F3BD-8A54-2E68-A9A4C46BD77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9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43008674"/>
      </p:ext>
    </p:extLst>
  </p:cSld>
  <p:clrMapOvr>
    <a:masterClrMapping/>
  </p:clrMapOvr>
</p:notes>
</file>

<file path=ppt/notesSlides/notesSlide9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9DD77D-DC43-7F11-79F3-B6B81CF112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1B0A429-E1B6-1BAE-DDF5-7A83CF80924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9510D48-E335-9764-D1F8-4E3BAE2F9D5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55C2A68-5836-768B-484E-78E198AAAEF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9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13888347"/>
      </p:ext>
    </p:extLst>
  </p:cSld>
  <p:clrMapOvr>
    <a:masterClrMapping/>
  </p:clrMapOvr>
</p:notes>
</file>

<file path=ppt/notesSlides/notesSlide9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8A6D114-DCCE-D269-2B9C-303DE2186D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EAFE82A-D636-2B36-03C4-F9BAD3E8196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9633831-C6FD-D06D-2F52-B0DDC610FB9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87EDFF8-3C86-E5D9-4578-2EFA0F3A318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10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22363474"/>
      </p:ext>
    </p:extLst>
  </p:cSld>
  <p:clrMapOvr>
    <a:masterClrMapping/>
  </p:clrMapOvr>
</p:notes>
</file>

<file path=ppt/notesSlides/notesSlide9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863167-CCCA-A273-68E9-26D158A9D3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0BA3DDC-9564-9A68-46CD-D5B23D4CF0A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D9EE544-20D2-F352-CB78-E1497B42FF2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177B5B6-F84E-59B4-092E-E9DC6283B5E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10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42073172"/>
      </p:ext>
    </p:extLst>
  </p:cSld>
  <p:clrMapOvr>
    <a:masterClrMapping/>
  </p:clrMapOvr>
</p:notes>
</file>

<file path=ppt/notesSlides/notesSlide9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2195978-F15A-F0DE-66E6-67868B2B25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00B1456-05C1-0532-DF0B-A155F8DD1BA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2483409-16CB-02EA-F4D2-3320EAD2FFA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CB163F4-BFED-AE73-01A6-5B20512DD71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10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18083881"/>
      </p:ext>
    </p:extLst>
  </p:cSld>
  <p:clrMapOvr>
    <a:masterClrMapping/>
  </p:clrMapOvr>
</p:notes>
</file>

<file path=ppt/notesSlides/notesSlide9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29AA5BB-C5F4-249F-8E91-89155FB60E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50DD5C6-2CA5-098A-A1A0-96EB960A42F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A6BF6DB-092A-2982-7DA7-53798E1F7EA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B08EDCD-A616-C23F-0ED6-EBC602BEEC4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10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75085006"/>
      </p:ext>
    </p:extLst>
  </p:cSld>
  <p:clrMapOvr>
    <a:masterClrMapping/>
  </p:clrMapOvr>
</p:notes>
</file>

<file path=ppt/notesSlides/notesSlide9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6355A9-1825-FD36-7850-84CE8B71C6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88FFEDE-EDA2-72D0-6788-682054C2AEA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BC5B0FD-3A14-E0A1-2FC4-EB679C79BAA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53C1B8F-0D53-4211-1CC1-3FA35DEA715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10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124276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5A9443-930B-41A4-21CD-2927B3E8475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A3847CF-A45B-FB6D-B760-18BFE5929CA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B3A91B-4EE8-1F73-C112-6E94C0C1D4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C1727AC-4903-1C7A-DFB1-A9D72E60E3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67AEA15-29C6-920B-4108-EE0EDC0171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880349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C05236-4B4F-BDA8-124D-FC0D1BAF0E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71F1A50-FBD3-70C9-76FD-A3E6C29B6AD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FBB467A-5511-F7F7-CD74-881094E6EA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0079695-5E7A-E938-6E3C-F03A20A8A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D07B77A-AEB8-9460-0B2D-8438EA5FBD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237815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E32A0A9-E938-8A2F-1C26-F22547A8F6E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092DA72-B28E-4855-D441-18BEF80D907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4D2885C-39C7-6D17-D174-81E830BCC5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DE1D502-B697-0B2A-4DB3-72E0B959CE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49C9A39-5A4B-43B4-52E7-597FBB05BE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556950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4C9F0B-EDDA-8463-5409-4D040B109F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5E123EB-31F0-26A8-60B3-C1C3CF41B66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150A539-5FF9-BEC9-2C07-34D9C907E6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9B8A09-CD16-6F07-B034-616FCDDA09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E3C8B5-1337-1426-49C4-C71319E961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568628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9FF775-FBC1-000C-C5AC-4A08DBD7DA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0F0044-D594-1410-A255-84AE8F59F93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1671FA6-7A83-A1FA-D37E-9DAC54F63C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59687A0-6902-790B-E724-441AE91B7D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E67EB3F-12F9-9E72-3E90-21C24FAFCC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769971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CF4935-D532-EDB3-E01B-9991406352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558833B-EA29-159C-2B29-88E598B007B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5FFA667-A66B-338D-0A59-6FC38B87229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28B8974-899E-0850-2630-6B22BD504A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106791E-3D24-D10D-7D30-783B89D6B9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D3E620A-F6C1-8869-3493-2AB1CE634D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297194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A25DFB-7C45-EDB5-5A88-3569460776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0FAED48-2B35-577C-07BD-52946797121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F318C2E-BD71-CF94-2DBB-70505262C8C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C223729-92B6-FF08-8695-6B3554C06F2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E88A1D8-6F6F-35B4-A60C-4AAC709D57B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7CBF9FE-A0AB-5D08-4333-20E5852D45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473AE02-B5F9-6B8E-3BE3-19339C75C5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084AFD3-D2AF-6655-9F42-0C1359D34B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188733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60DE38-D738-75C9-D13A-4D67899789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EBF86D2-1B78-6990-77D9-E22F03C6A1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E763FD-4BBF-BB0C-6BA2-2F0B19CA03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5F0D545-4BED-83A0-16B7-54907106B1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135761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52FBBBB-F93A-B2B7-C130-9F3F510348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57EA6F8-2967-0F0E-1206-A5113C1955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6D4928-0F9C-43B3-D788-C9C88EA74D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211896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D6AE6C-602F-C7E8-2C9E-DB64FA7670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67C8539-8791-7754-2269-DBD7F5AB22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9C124F1-A2B3-72F2-6D4F-B143EEB327A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1084C2F-1B07-BE90-B766-63F6DBC0C8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7DD7B46-8E4C-03C9-F7E5-CA7CABC12E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06C4921-89CD-1743-623C-EA534B1A3C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709538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53A123-A8F4-C02E-BC00-3F662FDA35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9B54629-0616-8E9C-C03D-EBAD57C3826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DDEB9C9-74C0-D194-BD09-AA155E08A5F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D603BCF-7933-9C8F-7829-648BC9E86E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3483DC-C214-E4CB-C8C0-08AAB831D9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8238EBB-7FBC-E049-A4D6-763641311C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928002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655CACD-B450-0B93-C13D-80986AEE41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4402237-F8ED-2C90-652B-182BD04BAAD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6B866A9-E467-14E4-DF6E-8AABBAA3B21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4CF6AC7-9535-4342-9A8D-6B6920DDE84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4EF4F1F-778A-30BC-03DD-228496E80F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437493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jpg"/><Relationship Id="rId1" Type="http://schemas.openxmlformats.org/officeDocument/2006/relationships/slideLayout" Target="../slideLayouts/slideLayout2.xml"/></Relationships>
</file>

<file path=ppt/slides/_rels/slide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95.xml"/><Relationship Id="rId1" Type="http://schemas.openxmlformats.org/officeDocument/2006/relationships/slideLayout" Target="../slideLayouts/slideLayout1.xml"/></Relationships>
</file>

<file path=ppt/slides/_rels/slide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96.xml"/><Relationship Id="rId1" Type="http://schemas.openxmlformats.org/officeDocument/2006/relationships/slideLayout" Target="../slideLayouts/slideLayout1.xml"/></Relationships>
</file>

<file path=ppt/slides/_rels/slide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97.xml"/><Relationship Id="rId1" Type="http://schemas.openxmlformats.org/officeDocument/2006/relationships/slideLayout" Target="../slideLayouts/slideLayout1.xml"/></Relationships>
</file>

<file path=ppt/slides/_rels/slide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98.xml"/><Relationship Id="rId1" Type="http://schemas.openxmlformats.org/officeDocument/2006/relationships/slideLayout" Target="../slideLayouts/slideLayout1.xml"/></Relationships>
</file>

<file path=ppt/slides/_rels/slide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g"/><Relationship Id="rId2" Type="http://schemas.openxmlformats.org/officeDocument/2006/relationships/notesSlide" Target="../notesSlides/notesSlide99.xml"/><Relationship Id="rId1" Type="http://schemas.openxmlformats.org/officeDocument/2006/relationships/slideLayout" Target="../slideLayouts/slideLayout1.xml"/></Relationships>
</file>

<file path=ppt/slides/_rels/slide10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g"/><Relationship Id="rId2" Type="http://schemas.openxmlformats.org/officeDocument/2006/relationships/notesSlide" Target="../notesSlides/notesSlide100.xml"/><Relationship Id="rId1" Type="http://schemas.openxmlformats.org/officeDocument/2006/relationships/slideLayout" Target="../slideLayouts/slideLayout1.xml"/></Relationships>
</file>

<file path=ppt/slides/_rels/slide10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8.xml.rels><?xml version="1.0" encoding="UTF-8" standalone="yes"?>
<Relationships xmlns="http://schemas.openxmlformats.org/package/2006/relationships"><Relationship Id="rId3" Type="http://schemas.openxmlformats.org/officeDocument/2006/relationships/hyperlink" Target="mailto:Vmoschetta@sammpo.fr" TargetMode="External"/><Relationship Id="rId2" Type="http://schemas.openxmlformats.org/officeDocument/2006/relationships/image" Target="../media/image207.jpg"/><Relationship Id="rId1" Type="http://schemas.openxmlformats.org/officeDocument/2006/relationships/slideLayout" Target="../slideLayouts/slideLayout2.xml"/><Relationship Id="rId4" Type="http://schemas.openxmlformats.org/officeDocument/2006/relationships/hyperlink" Target="mailto:Smalollari@sammpo.fr" TargetMode="Externa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5.emf"/><Relationship Id="rId5" Type="http://schemas.openxmlformats.org/officeDocument/2006/relationships/image" Target="../media/image54.emf"/><Relationship Id="rId4" Type="http://schemas.openxmlformats.org/officeDocument/2006/relationships/image" Target="../media/image53.em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emf"/><Relationship Id="rId3" Type="http://schemas.openxmlformats.org/officeDocument/2006/relationships/image" Target="../media/image56.png"/><Relationship Id="rId7" Type="http://schemas.openxmlformats.org/officeDocument/2006/relationships/image" Target="../media/image5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9.svg"/><Relationship Id="rId5" Type="http://schemas.openxmlformats.org/officeDocument/2006/relationships/image" Target="../media/image58.png"/><Relationship Id="rId10" Type="http://schemas.openxmlformats.org/officeDocument/2006/relationships/image" Target="../media/image62.emf"/><Relationship Id="rId4" Type="http://schemas.openxmlformats.org/officeDocument/2006/relationships/image" Target="../media/image57.svg"/><Relationship Id="rId9" Type="http://schemas.openxmlformats.org/officeDocument/2006/relationships/image" Target="../media/image61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emf"/><Relationship Id="rId3" Type="http://schemas.openxmlformats.org/officeDocument/2006/relationships/image" Target="../media/image52.png"/><Relationship Id="rId7" Type="http://schemas.openxmlformats.org/officeDocument/2006/relationships/image" Target="../media/image66.em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5.emf"/><Relationship Id="rId5" Type="http://schemas.openxmlformats.org/officeDocument/2006/relationships/image" Target="../media/image64.emf"/><Relationship Id="rId4" Type="http://schemas.openxmlformats.org/officeDocument/2006/relationships/image" Target="../media/image63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9.emf"/><Relationship Id="rId4" Type="http://schemas.openxmlformats.org/officeDocument/2006/relationships/image" Target="../media/image68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0.emf"/><Relationship Id="rId5" Type="http://schemas.openxmlformats.org/officeDocument/2006/relationships/image" Target="../media/image16.png"/><Relationship Id="rId4" Type="http://schemas.microsoft.com/office/2007/relationships/hdphoto" Target="../media/hdphoto1.wdp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7" Type="http://schemas.openxmlformats.org/officeDocument/2006/relationships/image" Target="../media/image74.emf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3.emf"/><Relationship Id="rId5" Type="http://schemas.openxmlformats.org/officeDocument/2006/relationships/image" Target="../media/image72.emf"/><Relationship Id="rId4" Type="http://schemas.openxmlformats.org/officeDocument/2006/relationships/image" Target="../media/image7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7.emf"/><Relationship Id="rId5" Type="http://schemas.openxmlformats.org/officeDocument/2006/relationships/image" Target="../media/image76.emf"/><Relationship Id="rId4" Type="http://schemas.openxmlformats.org/officeDocument/2006/relationships/image" Target="../media/image75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9.emf"/><Relationship Id="rId5" Type="http://schemas.openxmlformats.org/officeDocument/2006/relationships/image" Target="../media/image78.emf"/><Relationship Id="rId4" Type="http://schemas.openxmlformats.org/officeDocument/2006/relationships/image" Target="../media/image52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2.png"/><Relationship Id="rId13" Type="http://schemas.openxmlformats.org/officeDocument/2006/relationships/image" Target="../media/image87.emf"/><Relationship Id="rId3" Type="http://schemas.openxmlformats.org/officeDocument/2006/relationships/tags" Target="../tags/tag3.xml"/><Relationship Id="rId7" Type="http://schemas.openxmlformats.org/officeDocument/2006/relationships/image" Target="../media/image81.emf"/><Relationship Id="rId12" Type="http://schemas.openxmlformats.org/officeDocument/2006/relationships/image" Target="../media/image86.emf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85.svg"/><Relationship Id="rId5" Type="http://schemas.openxmlformats.org/officeDocument/2006/relationships/image" Target="../media/image80.jpg"/><Relationship Id="rId10" Type="http://schemas.openxmlformats.org/officeDocument/2006/relationships/image" Target="../media/image84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83.svg"/><Relationship Id="rId14" Type="http://schemas.openxmlformats.org/officeDocument/2006/relationships/image" Target="../media/image88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13" Type="http://schemas.openxmlformats.org/officeDocument/2006/relationships/image" Target="../media/image13.pn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12" Type="http://schemas.openxmlformats.org/officeDocument/2006/relationships/image" Target="../media/image12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svg"/><Relationship Id="rId11" Type="http://schemas.openxmlformats.org/officeDocument/2006/relationships/image" Target="../media/image11.jpg"/><Relationship Id="rId5" Type="http://schemas.openxmlformats.org/officeDocument/2006/relationships/image" Target="../media/image5.png"/><Relationship Id="rId10" Type="http://schemas.openxmlformats.org/officeDocument/2006/relationships/image" Target="../media/image10.jpg"/><Relationship Id="rId4" Type="http://schemas.openxmlformats.org/officeDocument/2006/relationships/image" Target="../media/image4.svg"/><Relationship Id="rId9" Type="http://schemas.openxmlformats.org/officeDocument/2006/relationships/image" Target="../media/image9.jpg"/><Relationship Id="rId14" Type="http://schemas.openxmlformats.org/officeDocument/2006/relationships/image" Target="../media/image14.sv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jp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2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jp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2.emf"/><Relationship Id="rId5" Type="http://schemas.openxmlformats.org/officeDocument/2006/relationships/image" Target="../media/image91.emf"/><Relationship Id="rId4" Type="http://schemas.openxmlformats.org/officeDocument/2006/relationships/image" Target="../media/image90.em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emf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94.emf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6.png"/><Relationship Id="rId13" Type="http://schemas.openxmlformats.org/officeDocument/2006/relationships/image" Target="../media/image101.emf"/><Relationship Id="rId3" Type="http://schemas.openxmlformats.org/officeDocument/2006/relationships/image" Target="../media/image52.png"/><Relationship Id="rId7" Type="http://schemas.openxmlformats.org/officeDocument/2006/relationships/image" Target="../media/image95.png"/><Relationship Id="rId12" Type="http://schemas.openxmlformats.org/officeDocument/2006/relationships/image" Target="../media/image100.emf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6.png"/><Relationship Id="rId11" Type="http://schemas.openxmlformats.org/officeDocument/2006/relationships/image" Target="../media/image99.svg"/><Relationship Id="rId5" Type="http://schemas.microsoft.com/office/2007/relationships/hdphoto" Target="../media/hdphoto1.wdp"/><Relationship Id="rId10" Type="http://schemas.openxmlformats.org/officeDocument/2006/relationships/image" Target="../media/image98.png"/><Relationship Id="rId4" Type="http://schemas.openxmlformats.org/officeDocument/2006/relationships/image" Target="../media/image15.png"/><Relationship Id="rId9" Type="http://schemas.openxmlformats.org/officeDocument/2006/relationships/image" Target="../media/image97.sv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04.emf"/><Relationship Id="rId5" Type="http://schemas.openxmlformats.org/officeDocument/2006/relationships/image" Target="../media/image103.emf"/><Relationship Id="rId4" Type="http://schemas.openxmlformats.org/officeDocument/2006/relationships/image" Target="../media/image102.emf"/></Relationships>
</file>

<file path=ppt/slides/_rels/slide28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13" Type="http://schemas.openxmlformats.org/officeDocument/2006/relationships/image" Target="../media/image110.emf"/><Relationship Id="rId3" Type="http://schemas.openxmlformats.org/officeDocument/2006/relationships/image" Target="../media/image22.png"/><Relationship Id="rId7" Type="http://schemas.openxmlformats.org/officeDocument/2006/relationships/image" Target="../media/image15.png"/><Relationship Id="rId12" Type="http://schemas.openxmlformats.org/officeDocument/2006/relationships/image" Target="../media/image109.emf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06.svg"/><Relationship Id="rId11" Type="http://schemas.openxmlformats.org/officeDocument/2006/relationships/image" Target="../media/image108.emf"/><Relationship Id="rId5" Type="http://schemas.openxmlformats.org/officeDocument/2006/relationships/image" Target="../media/image105.png"/><Relationship Id="rId10" Type="http://schemas.openxmlformats.org/officeDocument/2006/relationships/image" Target="../media/image107.emf"/><Relationship Id="rId4" Type="http://schemas.openxmlformats.org/officeDocument/2006/relationships/image" Target="../media/image23.svg"/><Relationship Id="rId9" Type="http://schemas.openxmlformats.org/officeDocument/2006/relationships/image" Target="../media/image16.png"/><Relationship Id="rId14" Type="http://schemas.openxmlformats.org/officeDocument/2006/relationships/image" Target="../media/image111.emf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12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7" Type="http://schemas.openxmlformats.org/officeDocument/2006/relationships/image" Target="../media/image18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7.emf"/><Relationship Id="rId5" Type="http://schemas.openxmlformats.org/officeDocument/2006/relationships/image" Target="../media/image16.png"/><Relationship Id="rId4" Type="http://schemas.microsoft.com/office/2007/relationships/hdphoto" Target="../media/hdphoto1.wdp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14.emf"/><Relationship Id="rId4" Type="http://schemas.openxmlformats.org/officeDocument/2006/relationships/image" Target="../media/image113.emf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jpeg"/><Relationship Id="rId7" Type="http://schemas.openxmlformats.org/officeDocument/2006/relationships/image" Target="../media/image118.emf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7.emf"/><Relationship Id="rId5" Type="http://schemas.openxmlformats.org/officeDocument/2006/relationships/image" Target="../media/image116.emf"/><Relationship Id="rId4" Type="http://schemas.openxmlformats.org/officeDocument/2006/relationships/image" Target="../media/image16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7" Type="http://schemas.openxmlformats.org/officeDocument/2006/relationships/image" Target="../media/image119.emf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6.png"/><Relationship Id="rId5" Type="http://schemas.microsoft.com/office/2007/relationships/hdphoto" Target="../media/hdphoto1.wdp"/><Relationship Id="rId4" Type="http://schemas.openxmlformats.org/officeDocument/2006/relationships/image" Target="../media/image15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0.jp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2.emf"/><Relationship Id="rId5" Type="http://schemas.openxmlformats.org/officeDocument/2006/relationships/image" Target="../media/image121.emf"/><Relationship Id="rId4" Type="http://schemas.openxmlformats.org/officeDocument/2006/relationships/image" Target="../media/image16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0.jp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4.emf"/><Relationship Id="rId5" Type="http://schemas.openxmlformats.org/officeDocument/2006/relationships/image" Target="../media/image123.emf"/><Relationship Id="rId4" Type="http://schemas.openxmlformats.org/officeDocument/2006/relationships/image" Target="../media/image16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0.jp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6.emf"/><Relationship Id="rId5" Type="http://schemas.openxmlformats.org/officeDocument/2006/relationships/image" Target="../media/image125.emf"/><Relationship Id="rId4" Type="http://schemas.openxmlformats.org/officeDocument/2006/relationships/image" Target="../media/image16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0.jp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8.emf"/><Relationship Id="rId5" Type="http://schemas.openxmlformats.org/officeDocument/2006/relationships/image" Target="../media/image127.emf"/><Relationship Id="rId4" Type="http://schemas.openxmlformats.org/officeDocument/2006/relationships/image" Target="../media/image16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0.jp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30.emf"/><Relationship Id="rId5" Type="http://schemas.openxmlformats.org/officeDocument/2006/relationships/image" Target="../media/image129.emf"/><Relationship Id="rId4" Type="http://schemas.openxmlformats.org/officeDocument/2006/relationships/image" Target="../media/image16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32.emf"/><Relationship Id="rId4" Type="http://schemas.openxmlformats.org/officeDocument/2006/relationships/image" Target="../media/image131.emf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34.emf"/><Relationship Id="rId4" Type="http://schemas.openxmlformats.org/officeDocument/2006/relationships/image" Target="../media/image133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3" Type="http://schemas.openxmlformats.org/officeDocument/2006/relationships/image" Target="../media/image19.jpg"/><Relationship Id="rId7" Type="http://schemas.openxmlformats.org/officeDocument/2006/relationships/image" Target="../media/image2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.jpg"/><Relationship Id="rId5" Type="http://schemas.openxmlformats.org/officeDocument/2006/relationships/image" Target="../media/image21.svg"/><Relationship Id="rId4" Type="http://schemas.openxmlformats.org/officeDocument/2006/relationships/image" Target="../media/image20.png"/><Relationship Id="rId9" Type="http://schemas.openxmlformats.org/officeDocument/2006/relationships/image" Target="../media/image24.jp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jpg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36.emf"/><Relationship Id="rId4" Type="http://schemas.openxmlformats.org/officeDocument/2006/relationships/image" Target="../media/image135.emf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37.emf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38.emf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39.emf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40.emf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41.emf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42.emf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3.jp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44.emf"/><Relationship Id="rId4" Type="http://schemas.openxmlformats.org/officeDocument/2006/relationships/image" Target="../media/image52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46.emf"/><Relationship Id="rId4" Type="http://schemas.openxmlformats.org/officeDocument/2006/relationships/image" Target="../media/image145.emf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47.emf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49.emf"/><Relationship Id="rId4" Type="http://schemas.openxmlformats.org/officeDocument/2006/relationships/image" Target="../media/image148.emf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50.emf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52.emf"/><Relationship Id="rId4" Type="http://schemas.openxmlformats.org/officeDocument/2006/relationships/image" Target="../media/image151.emf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54.emf"/><Relationship Id="rId4" Type="http://schemas.openxmlformats.org/officeDocument/2006/relationships/image" Target="../media/image153.emf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55.emf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57.emf"/><Relationship Id="rId4" Type="http://schemas.openxmlformats.org/officeDocument/2006/relationships/image" Target="../media/image156.emf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59.emf"/><Relationship Id="rId4" Type="http://schemas.openxmlformats.org/officeDocument/2006/relationships/image" Target="../media/image158.emf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60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8.emf"/><Relationship Id="rId5" Type="http://schemas.openxmlformats.org/officeDocument/2006/relationships/image" Target="../media/image27.emf"/><Relationship Id="rId4" Type="http://schemas.openxmlformats.org/officeDocument/2006/relationships/image" Target="../media/image26.emf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62.emf"/><Relationship Id="rId4" Type="http://schemas.openxmlformats.org/officeDocument/2006/relationships/image" Target="../media/image161.emf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64.emf"/><Relationship Id="rId4" Type="http://schemas.openxmlformats.org/officeDocument/2006/relationships/image" Target="../media/image163.emf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64.emf"/><Relationship Id="rId4" Type="http://schemas.openxmlformats.org/officeDocument/2006/relationships/image" Target="../media/image165.emf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67.emf"/><Relationship Id="rId4" Type="http://schemas.openxmlformats.org/officeDocument/2006/relationships/image" Target="../media/image166.emf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69.emf"/><Relationship Id="rId4" Type="http://schemas.openxmlformats.org/officeDocument/2006/relationships/image" Target="../media/image168.emf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71.emf"/><Relationship Id="rId4" Type="http://schemas.openxmlformats.org/officeDocument/2006/relationships/image" Target="../media/image170.emf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72.emf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6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74.emf"/><Relationship Id="rId4" Type="http://schemas.openxmlformats.org/officeDocument/2006/relationships/image" Target="../media/image173.emf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2.xml"/><Relationship Id="rId4" Type="http://schemas.openxmlformats.org/officeDocument/2006/relationships/chart" Target="../charts/chart1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75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13" Type="http://schemas.openxmlformats.org/officeDocument/2006/relationships/image" Target="../media/image39.svg"/><Relationship Id="rId18" Type="http://schemas.openxmlformats.org/officeDocument/2006/relationships/image" Target="../media/image44.png"/><Relationship Id="rId3" Type="http://schemas.openxmlformats.org/officeDocument/2006/relationships/image" Target="../media/image29.jpg"/><Relationship Id="rId21" Type="http://schemas.openxmlformats.org/officeDocument/2006/relationships/image" Target="../media/image47.svg"/><Relationship Id="rId7" Type="http://schemas.openxmlformats.org/officeDocument/2006/relationships/image" Target="../media/image33.png"/><Relationship Id="rId12" Type="http://schemas.openxmlformats.org/officeDocument/2006/relationships/image" Target="../media/image38.png"/><Relationship Id="rId17" Type="http://schemas.openxmlformats.org/officeDocument/2006/relationships/image" Target="../media/image43.svg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42.png"/><Relationship Id="rId20" Type="http://schemas.openxmlformats.org/officeDocument/2006/relationships/image" Target="../media/image46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2.png"/><Relationship Id="rId11" Type="http://schemas.openxmlformats.org/officeDocument/2006/relationships/image" Target="../media/image37.png"/><Relationship Id="rId5" Type="http://schemas.openxmlformats.org/officeDocument/2006/relationships/image" Target="../media/image31.png"/><Relationship Id="rId15" Type="http://schemas.openxmlformats.org/officeDocument/2006/relationships/image" Target="../media/image41.svg"/><Relationship Id="rId23" Type="http://schemas.openxmlformats.org/officeDocument/2006/relationships/image" Target="../media/image49.svg"/><Relationship Id="rId10" Type="http://schemas.openxmlformats.org/officeDocument/2006/relationships/image" Target="../media/image36.png"/><Relationship Id="rId19" Type="http://schemas.openxmlformats.org/officeDocument/2006/relationships/image" Target="../media/image45.svg"/><Relationship Id="rId4" Type="http://schemas.openxmlformats.org/officeDocument/2006/relationships/image" Target="../media/image30.png"/><Relationship Id="rId9" Type="http://schemas.openxmlformats.org/officeDocument/2006/relationships/image" Target="../media/image35.png"/><Relationship Id="rId14" Type="http://schemas.openxmlformats.org/officeDocument/2006/relationships/image" Target="../media/image40.png"/><Relationship Id="rId22" Type="http://schemas.openxmlformats.org/officeDocument/2006/relationships/image" Target="../media/image48.png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6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78.emf"/><Relationship Id="rId5" Type="http://schemas.openxmlformats.org/officeDocument/2006/relationships/image" Target="../media/image177.emf"/><Relationship Id="rId4" Type="http://schemas.openxmlformats.org/officeDocument/2006/relationships/image" Target="../media/image176.emf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66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80.emf"/><Relationship Id="rId4" Type="http://schemas.openxmlformats.org/officeDocument/2006/relationships/image" Target="../media/image179.emf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67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81.emf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68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83.emf"/><Relationship Id="rId4" Type="http://schemas.openxmlformats.org/officeDocument/2006/relationships/image" Target="../media/image182.emf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69.xml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4.xml"/><Relationship Id="rId4" Type="http://schemas.openxmlformats.org/officeDocument/2006/relationships/chart" Target="../charts/chart3.xml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70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84.emf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7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86.emf"/><Relationship Id="rId4" Type="http://schemas.openxmlformats.org/officeDocument/2006/relationships/image" Target="../media/image185.emf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7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88.emf"/><Relationship Id="rId4" Type="http://schemas.openxmlformats.org/officeDocument/2006/relationships/image" Target="../media/image187.emf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73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89.emf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7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4.emf"/><Relationship Id="rId5" Type="http://schemas.openxmlformats.org/officeDocument/2006/relationships/image" Target="../media/image191.emf"/><Relationship Id="rId4" Type="http://schemas.openxmlformats.org/officeDocument/2006/relationships/image" Target="../media/image190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75.xml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6.xml"/><Relationship Id="rId4" Type="http://schemas.openxmlformats.org/officeDocument/2006/relationships/chart" Target="../charts/chart5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76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93.emf"/><Relationship Id="rId4" Type="http://schemas.openxmlformats.org/officeDocument/2006/relationships/image" Target="../media/image192.emf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77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94.emf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g"/><Relationship Id="rId2" Type="http://schemas.openxmlformats.org/officeDocument/2006/relationships/notesSlide" Target="../notesSlides/notesSlide78.xml"/><Relationship Id="rId1" Type="http://schemas.openxmlformats.org/officeDocument/2006/relationships/slideLayout" Target="../slideLayouts/slideLayout1.xml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79.xml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8.xml"/><Relationship Id="rId4" Type="http://schemas.openxmlformats.org/officeDocument/2006/relationships/chart" Target="../charts/chart7.xml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80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95.emf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8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97.emf"/><Relationship Id="rId4" Type="http://schemas.openxmlformats.org/officeDocument/2006/relationships/image" Target="../media/image196.emf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8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99.emf"/><Relationship Id="rId4" Type="http://schemas.openxmlformats.org/officeDocument/2006/relationships/image" Target="../media/image198.emf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83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00.emf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84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0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85.xml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10.xml"/><Relationship Id="rId4" Type="http://schemas.openxmlformats.org/officeDocument/2006/relationships/chart" Target="../charts/chart9.xml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86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02.emf"/></Relationships>
</file>

<file path=ppt/slides/_rels/slide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87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04.emf"/><Relationship Id="rId4" Type="http://schemas.openxmlformats.org/officeDocument/2006/relationships/image" Target="../media/image203.emf"/></Relationships>
</file>

<file path=ppt/slides/_rels/slide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88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06.emf"/><Relationship Id="rId4" Type="http://schemas.openxmlformats.org/officeDocument/2006/relationships/image" Target="../media/image205.emf"/></Relationships>
</file>

<file path=ppt/slides/_rels/slide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89.xml"/><Relationship Id="rId1" Type="http://schemas.openxmlformats.org/officeDocument/2006/relationships/slideLayout" Target="../slideLayouts/slideLayout1.xml"/></Relationships>
</file>

<file path=ppt/slides/_rels/slide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90.xml"/><Relationship Id="rId1" Type="http://schemas.openxmlformats.org/officeDocument/2006/relationships/slideLayout" Target="../slideLayouts/slideLayout1.xml"/></Relationships>
</file>

<file path=ppt/slides/_rels/slide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91.xml"/><Relationship Id="rId1" Type="http://schemas.openxmlformats.org/officeDocument/2006/relationships/slideLayout" Target="../slideLayouts/slideLayout1.xml"/></Relationships>
</file>

<file path=ppt/slides/_rels/slide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92.xml"/><Relationship Id="rId1" Type="http://schemas.openxmlformats.org/officeDocument/2006/relationships/slideLayout" Target="../slideLayouts/slideLayout1.xml"/></Relationships>
</file>

<file path=ppt/slides/_rels/slide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93.xml"/><Relationship Id="rId1" Type="http://schemas.openxmlformats.org/officeDocument/2006/relationships/slideLayout" Target="../slideLayouts/slideLayout1.xml"/></Relationships>
</file>

<file path=ppt/slides/_rels/slide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94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1CCF9FA-9F52-8141-4B90-7AB3DCB029F2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r>
              <a:rPr lang="fr-FR" sz="1100">
                <a:solidFill>
                  <a:schemeClr val="tx1">
                    <a:lumMod val="90000"/>
                    <a:lumOff val="10000"/>
                  </a:schemeClr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A000</a:t>
            </a:r>
            <a:endParaRPr lang="en-US" sz="1100" dirty="0">
              <a:solidFill>
                <a:schemeClr val="tx1">
                  <a:lumMod val="90000"/>
                  <a:lumOff val="10000"/>
                </a:schemeClr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4" name="Picture 3" descr="A shelf full of liquor bottles&#10;&#10;AI-generated content may be incorrect.">
            <a:extLst>
              <a:ext uri="{FF2B5EF4-FFF2-40B4-BE49-F238E27FC236}">
                <a16:creationId xmlns:a16="http://schemas.microsoft.com/office/drawing/2014/main" id="{D12DB684-02B0-6DB7-92C8-858E243882A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572" b="205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9CF64F9D-26C5-1F03-699F-FD681655B9C7}"/>
              </a:ext>
            </a:extLst>
          </p:cNvPr>
          <p:cNvSpPr/>
          <p:nvPr/>
        </p:nvSpPr>
        <p:spPr>
          <a:xfrm>
            <a:off x="1514475" y="1479792"/>
            <a:ext cx="9163050" cy="3898416"/>
          </a:xfrm>
          <a:prstGeom prst="roundRect">
            <a:avLst>
              <a:gd name="adj" fmla="val 6534"/>
            </a:avLst>
          </a:prstGeom>
          <a:solidFill>
            <a:srgbClr val="FFFFFF">
              <a:alpha val="94902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sz="2800" i="1" dirty="0">
              <a:solidFill>
                <a:schemeClr val="tx1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362B3FB-99D5-1C13-8861-C58B61311075}"/>
              </a:ext>
            </a:extLst>
          </p:cNvPr>
          <p:cNvCxnSpPr>
            <a:cxnSpLocks/>
          </p:cNvCxnSpPr>
          <p:nvPr/>
        </p:nvCxnSpPr>
        <p:spPr>
          <a:xfrm>
            <a:off x="2293586" y="2402304"/>
            <a:ext cx="2022176" cy="0"/>
          </a:xfrm>
          <a:prstGeom prst="line">
            <a:avLst/>
          </a:prstGeom>
          <a:ln w="19050">
            <a:solidFill>
              <a:schemeClr val="tx1">
                <a:lumMod val="25000"/>
                <a:lumOff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5D70BCE6-7EC9-F8E8-83BB-045869AAD150}"/>
              </a:ext>
            </a:extLst>
          </p:cNvPr>
          <p:cNvCxnSpPr>
            <a:cxnSpLocks/>
          </p:cNvCxnSpPr>
          <p:nvPr/>
        </p:nvCxnSpPr>
        <p:spPr>
          <a:xfrm>
            <a:off x="7876238" y="2402304"/>
            <a:ext cx="2022176" cy="0"/>
          </a:xfrm>
          <a:prstGeom prst="line">
            <a:avLst/>
          </a:prstGeom>
          <a:ln w="19050">
            <a:solidFill>
              <a:schemeClr val="tx1">
                <a:lumMod val="25000"/>
                <a:lumOff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 descr="A black square with white text and a white circle&#10;&#10;AI-generated content may be incorrect.">
            <a:extLst>
              <a:ext uri="{FF2B5EF4-FFF2-40B4-BE49-F238E27FC236}">
                <a16:creationId xmlns:a16="http://schemas.microsoft.com/office/drawing/2014/main" id="{C64784ED-5EA4-47A5-5153-062171C5A9C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8920" y="2036008"/>
            <a:ext cx="732108" cy="732592"/>
          </a:xfrm>
          <a:prstGeom prst="round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F8D50538-C89C-6662-7EDE-C9BA8A360FEE}"/>
              </a:ext>
            </a:extLst>
          </p:cNvPr>
          <p:cNvSpPr/>
          <p:nvPr/>
        </p:nvSpPr>
        <p:spPr>
          <a:xfrm>
            <a:off x="5525950" y="1945104"/>
            <a:ext cx="914400" cy="914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2400" b="1" dirty="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X</a:t>
            </a:r>
            <a:endParaRPr lang="en-US" sz="2400" b="1" dirty="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AF1B23E-8FE1-F1AB-1F19-B7F5A7883D4C}"/>
              </a:ext>
            </a:extLst>
          </p:cNvPr>
          <p:cNvSpPr/>
          <p:nvPr/>
        </p:nvSpPr>
        <p:spPr>
          <a:xfrm>
            <a:off x="2293586" y="4080453"/>
            <a:ext cx="7855349" cy="5147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000" b="0" i="1" u="none" strike="noStrike" kern="1200" cap="none" spc="0" normalizeH="0" baseline="0" noProof="0">
                <a:ln>
                  <a:noFill/>
                </a:ln>
                <a:solidFill>
                  <a:srgbClr val="1B1C1F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Initiatives de la semaine du 22 sept 2025. </a:t>
            </a:r>
            <a:endParaRPr kumimoji="0" lang="fr-FR" sz="2000" b="0" i="1" u="none" strike="noStrike" kern="1200" cap="none" spc="0" normalizeH="0" baseline="0" noProof="0" dirty="0">
              <a:ln>
                <a:noFill/>
              </a:ln>
              <a:solidFill>
                <a:srgbClr val="1B1C1F"/>
              </a:solidFill>
              <a:effectLst/>
              <a:uLnTx/>
              <a:uFillTx/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91AA328-0521-4125-DC34-19AD94F6BE82}"/>
              </a:ext>
            </a:extLst>
          </p:cNvPr>
          <p:cNvSpPr/>
          <p:nvPr/>
        </p:nvSpPr>
        <p:spPr>
          <a:xfrm>
            <a:off x="2293586" y="3529246"/>
            <a:ext cx="7855349" cy="5147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600" b="1" i="0" u="none" strike="noStrike" kern="1200" cap="none" spc="0" normalizeH="0" baseline="0" noProof="0">
                <a:ln>
                  <a:noFill/>
                </a:ln>
                <a:solidFill>
                  <a:srgbClr val="1B1C1F"/>
                </a:solidFill>
                <a:effectLst/>
                <a:uLnTx/>
                <a:uFillTx/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Bombay chez Leclerc</a:t>
            </a:r>
            <a:endParaRPr kumimoji="0" lang="fr-FR" sz="3600" b="1" i="0" u="none" strike="noStrike" kern="1200" cap="none" spc="0" normalizeH="0" baseline="0" noProof="0" dirty="0">
              <a:ln>
                <a:noFill/>
              </a:ln>
              <a:solidFill>
                <a:srgbClr val="1B1C1F"/>
              </a:solidFill>
              <a:effectLst/>
              <a:uLnTx/>
              <a:uFillTx/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448472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46CB084D-B29D-C6DD-1729-7E7B9ADFE8A1}"/>
              </a:ext>
            </a:extLst>
          </p:cNvPr>
          <p:cNvSpPr/>
          <p:nvPr/>
        </p:nvSpPr>
        <p:spPr>
          <a:xfrm>
            <a:off x="510173" y="477224"/>
            <a:ext cx="11171654" cy="5903552"/>
          </a:xfrm>
          <a:prstGeom prst="roundRect">
            <a:avLst>
              <a:gd name="adj" fmla="val 2986"/>
            </a:avLst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6CCBC2C4-F5B9-CCEA-E5B7-F27EC53A6B22}"/>
              </a:ext>
            </a:extLst>
          </p:cNvPr>
          <p:cNvSpPr/>
          <p:nvPr/>
        </p:nvSpPr>
        <p:spPr>
          <a:xfrm>
            <a:off x="510173" y="477224"/>
            <a:ext cx="11171654" cy="5903552"/>
          </a:xfrm>
          <a:prstGeom prst="roundRect">
            <a:avLst>
              <a:gd name="adj" fmla="val 2986"/>
            </a:avLst>
          </a:prstGeom>
          <a:solidFill>
            <a:schemeClr val="tx1">
              <a:lumMod val="75000"/>
              <a:lumOff val="25000"/>
              <a:alpha val="69804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4B596AF6-D3AB-1B64-1764-12CBE605F8D0}"/>
              </a:ext>
            </a:extLst>
          </p:cNvPr>
          <p:cNvGrpSpPr/>
          <p:nvPr/>
        </p:nvGrpSpPr>
        <p:grpSpPr>
          <a:xfrm>
            <a:off x="995351" y="896536"/>
            <a:ext cx="10060272" cy="463846"/>
            <a:chOff x="532932" y="492774"/>
            <a:chExt cx="10060272" cy="463846"/>
          </a:xfrm>
        </p:grpSpPr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E270EB04-912E-162D-9D6D-A378C6902560}"/>
                </a:ext>
              </a:extLst>
            </p:cNvPr>
            <p:cNvSpPr/>
            <p:nvPr/>
          </p:nvSpPr>
          <p:spPr>
            <a:xfrm>
              <a:off x="532932" y="611296"/>
              <a:ext cx="226904" cy="226904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en-US" sz="1600" b="1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284DF112-2C64-825E-AB3E-04BFFACEA6D8}"/>
                </a:ext>
              </a:extLst>
            </p:cNvPr>
            <p:cNvSpPr txBox="1"/>
            <p:nvPr/>
          </p:nvSpPr>
          <p:spPr>
            <a:xfrm>
              <a:off x="898070" y="492774"/>
              <a:ext cx="9695134" cy="463846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2400" b="1">
                  <a:solidFill>
                    <a:schemeClr val="bg1"/>
                  </a:solidFill>
                  <a:latin typeface="Aptos Black" panose="020B0004020202020204" pitchFamily="34" charset="0"/>
                </a:rPr>
                <a:t>Présentation du contexte de marché chez Leclerc.</a:t>
              </a:r>
              <a:endParaRPr lang="fr-FR" sz="2400" b="1" dirty="0">
                <a:solidFill>
                  <a:schemeClr val="bg1"/>
                </a:solidFill>
                <a:latin typeface="Aptos Black" panose="020B0004020202020204" pitchFamily="34" charset="0"/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8D04245-058E-2B14-FBC6-B31941DC62C1}"/>
              </a:ext>
            </a:extLst>
          </p:cNvPr>
          <p:cNvGrpSpPr/>
          <p:nvPr/>
        </p:nvGrpSpPr>
        <p:grpSpPr>
          <a:xfrm>
            <a:off x="995351" y="1559627"/>
            <a:ext cx="10347862" cy="1420993"/>
            <a:chOff x="995351" y="1603169"/>
            <a:chExt cx="10347862" cy="1420993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1B176CCB-DDD4-539A-3A16-2007C6AEDA1C}"/>
                </a:ext>
              </a:extLst>
            </p:cNvPr>
            <p:cNvSpPr/>
            <p:nvPr/>
          </p:nvSpPr>
          <p:spPr>
            <a:xfrm>
              <a:off x="995351" y="1603169"/>
              <a:ext cx="10347862" cy="29504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600" b="1">
                  <a:solidFill>
                    <a:schemeClr val="bg1"/>
                  </a:solidFill>
                </a:rPr>
                <a:t>Quelle est la stratégie de Leclerc ?</a:t>
              </a:r>
              <a:endParaRPr lang="fr-FR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F0A5FB9-5683-B28C-0625-A1633727D834}"/>
                </a:ext>
              </a:extLst>
            </p:cNvPr>
            <p:cNvSpPr/>
            <p:nvPr/>
          </p:nvSpPr>
          <p:spPr>
            <a:xfrm>
              <a:off x="995351" y="1922482"/>
              <a:ext cx="10347862" cy="110168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r>
                <a:rPr lang="fr-FR" sz="1600" dirty="0">
                  <a:solidFill>
                    <a:schemeClr val="bg1"/>
                  </a:solidFill>
                </a:rPr>
                <a:t>Texte ici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1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2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3</a:t>
              </a:r>
            </a:p>
            <a:p>
              <a:endParaRPr lang="fr-FR" sz="16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59D9A1B-E8B2-20A2-2535-4684163C98C3}"/>
              </a:ext>
            </a:extLst>
          </p:cNvPr>
          <p:cNvGrpSpPr/>
          <p:nvPr/>
        </p:nvGrpSpPr>
        <p:grpSpPr>
          <a:xfrm>
            <a:off x="995351" y="3121415"/>
            <a:ext cx="10347862" cy="1420993"/>
            <a:chOff x="995351" y="1603169"/>
            <a:chExt cx="10347862" cy="1420993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415127AB-B013-69B4-79CB-EFF40FF5BE56}"/>
                </a:ext>
              </a:extLst>
            </p:cNvPr>
            <p:cNvSpPr/>
            <p:nvPr/>
          </p:nvSpPr>
          <p:spPr>
            <a:xfrm>
              <a:off x="995351" y="1603169"/>
              <a:ext cx="10347862" cy="29504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600" b="1" dirty="0">
                  <a:solidFill>
                    <a:schemeClr val="bg1"/>
                  </a:solidFill>
                </a:rPr>
                <a:t>Comment a évolué l’environnement concurrentiel ?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9C7E9649-B2A6-D351-E914-63F07832190A}"/>
                </a:ext>
              </a:extLst>
            </p:cNvPr>
            <p:cNvSpPr/>
            <p:nvPr/>
          </p:nvSpPr>
          <p:spPr>
            <a:xfrm>
              <a:off x="995351" y="1922482"/>
              <a:ext cx="10347862" cy="110168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r>
                <a:rPr lang="fr-FR" sz="1600" dirty="0">
                  <a:solidFill>
                    <a:schemeClr val="bg1"/>
                  </a:solidFill>
                </a:rPr>
                <a:t>Texte ici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1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2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3</a:t>
              </a:r>
            </a:p>
            <a:p>
              <a:endParaRPr lang="fr-FR" sz="16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08D6547C-1D5B-235E-B7ED-EEFBC83057C2}"/>
              </a:ext>
            </a:extLst>
          </p:cNvPr>
          <p:cNvGrpSpPr/>
          <p:nvPr/>
        </p:nvGrpSpPr>
        <p:grpSpPr>
          <a:xfrm>
            <a:off x="995351" y="4683203"/>
            <a:ext cx="10347862" cy="1420993"/>
            <a:chOff x="995351" y="1603169"/>
            <a:chExt cx="10347862" cy="1420993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B1A90BC9-7D01-DD1B-C9AC-68CE9C76DE4E}"/>
                </a:ext>
              </a:extLst>
            </p:cNvPr>
            <p:cNvSpPr/>
            <p:nvPr/>
          </p:nvSpPr>
          <p:spPr>
            <a:xfrm>
              <a:off x="995351" y="1603169"/>
              <a:ext cx="10347862" cy="29504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600" b="1">
                  <a:solidFill>
                    <a:schemeClr val="bg1"/>
                  </a:solidFill>
                </a:rPr>
                <a:t>Quelle est la performance globale de Bombay dans cet environnement de marché ?</a:t>
              </a:r>
              <a:endParaRPr lang="fr-FR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C1F7F331-3794-4AB9-793E-30D7609A77A1}"/>
                </a:ext>
              </a:extLst>
            </p:cNvPr>
            <p:cNvSpPr/>
            <p:nvPr/>
          </p:nvSpPr>
          <p:spPr>
            <a:xfrm>
              <a:off x="995351" y="1922482"/>
              <a:ext cx="10347862" cy="110168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r>
                <a:rPr lang="fr-FR" sz="1600" dirty="0">
                  <a:solidFill>
                    <a:schemeClr val="bg1"/>
                  </a:solidFill>
                </a:rPr>
                <a:t>Texte ici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1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2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3</a:t>
              </a:r>
            </a:p>
            <a:p>
              <a:endParaRPr lang="fr-FR" sz="1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17302727"/>
      </p:ext>
    </p:extLst>
  </p:cSld>
  <p:clrMapOvr>
    <a:masterClrMapping/>
  </p:clrMapOvr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452A8D-FDC5-DAE8-DBE0-06660DCB64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995C859B-8576-99F8-4271-FFBE91BF988D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3FEBFC9-5265-9AD7-A13C-6A2611FE1064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533E1394-0C22-E66F-D1C0-185491FDC5F3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CD6A8A0-3FE8-CDE9-B2AC-DBECE24C5933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0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B8CC9D42-C9DF-DC8D-49F2-B130326AF84F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3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Suivre l’évolution du prix barré</a:t>
            </a:r>
            <a:endParaRPr lang="fr-FR" sz="24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E7DB8F24-1879-B0F8-F989-78F951356EE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F225524F-B01E-8295-6730-261AA562C5E6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Les prix pratiqués avant promotion ont-ils été mis à jour durant la campagne (à la hausse ou à la baisse) ? Quel impact NIP ? PAR PRODUIT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E8234243-7900-957A-347F-84D014817A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100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18BD7CF-3E34-C18B-07AD-96FFDA19229A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BDD3A610-501D-120D-CBF1-28EC183CD49C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XXX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78638A4E-C036-CE6F-718C-CDE786225140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FFED1D50-2BD0-BD91-1709-7EA1EC8E10FD}"/>
              </a:ext>
            </a:extLst>
          </p:cNvPr>
          <p:cNvGrpSpPr/>
          <p:nvPr/>
        </p:nvGrpSpPr>
        <p:grpSpPr>
          <a:xfrm>
            <a:off x="759837" y="2243165"/>
            <a:ext cx="10593964" cy="3341438"/>
            <a:chOff x="759836" y="2243165"/>
            <a:chExt cx="12630531" cy="3933898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DE4F68BC-7EA3-1D56-2CA0-95422D989397}"/>
                </a:ext>
              </a:extLst>
            </p:cNvPr>
            <p:cNvSpPr/>
            <p:nvPr/>
          </p:nvSpPr>
          <p:spPr>
            <a:xfrm>
              <a:off x="759836" y="2243165"/>
              <a:ext cx="4058907" cy="3933898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1"/>
              <a:r>
                <a:rPr lang="fr-FR" sz="1600" dirty="0" err="1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Cohort</a:t>
              </a:r>
              <a:r>
                <a:rPr lang="fr-FR" sz="160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 magasins promo : </a:t>
              </a:r>
            </a:p>
            <a:p>
              <a:pPr lvl="1"/>
              <a:r>
                <a:rPr lang="fr-FR" sz="160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Distribution prix S-1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C2219EE1-0877-E864-2EAF-DC86A95DD1E8}"/>
                </a:ext>
              </a:extLst>
            </p:cNvPr>
            <p:cNvSpPr/>
            <p:nvPr/>
          </p:nvSpPr>
          <p:spPr>
            <a:xfrm>
              <a:off x="5045648" y="2243165"/>
              <a:ext cx="4058907" cy="3933898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1"/>
              <a:r>
                <a:rPr lang="fr-FR" sz="1600" dirty="0" err="1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Cohort</a:t>
              </a:r>
              <a:r>
                <a:rPr lang="fr-FR" sz="160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 magasins promo : </a:t>
              </a:r>
            </a:p>
            <a:p>
              <a:pPr lvl="1"/>
              <a:r>
                <a:rPr lang="fr-FR" sz="160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Distribution prix S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40C12187-6477-D6E1-FBD5-889A385D0584}"/>
                </a:ext>
              </a:extLst>
            </p:cNvPr>
            <p:cNvSpPr/>
            <p:nvPr/>
          </p:nvSpPr>
          <p:spPr>
            <a:xfrm>
              <a:off x="9331460" y="2243165"/>
              <a:ext cx="4058907" cy="3933898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1"/>
              <a:r>
                <a:rPr lang="fr-FR" sz="1600" dirty="0" err="1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Cohort</a:t>
              </a:r>
              <a:r>
                <a:rPr lang="fr-FR" sz="160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 magasins promo : </a:t>
              </a:r>
            </a:p>
            <a:p>
              <a:pPr lvl="1"/>
              <a:r>
                <a:rPr lang="fr-FR" sz="160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Distribution prix S+1</a:t>
              </a: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5DA951E1-C87A-42C8-8E33-30C7C007F770}"/>
              </a:ext>
            </a:extLst>
          </p:cNvPr>
          <p:cNvGrpSpPr/>
          <p:nvPr/>
        </p:nvGrpSpPr>
        <p:grpSpPr>
          <a:xfrm>
            <a:off x="759837" y="5739166"/>
            <a:ext cx="10593964" cy="539208"/>
            <a:chOff x="759836" y="2243165"/>
            <a:chExt cx="12630531" cy="3933898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0A2BAE09-65E3-F69F-C4D4-39610065AC99}"/>
                </a:ext>
              </a:extLst>
            </p:cNvPr>
            <p:cNvSpPr/>
            <p:nvPr/>
          </p:nvSpPr>
          <p:spPr>
            <a:xfrm>
              <a:off x="759836" y="2243165"/>
              <a:ext cx="4058907" cy="3933898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1"/>
              <a:r>
                <a:rPr lang="fr-FR" sz="1600" dirty="0" err="1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Stacked</a:t>
              </a:r>
              <a:r>
                <a:rPr lang="fr-FR" sz="160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 bar évolution du prix (rouge, rouge clair, gris, </a:t>
              </a:r>
              <a:r>
                <a:rPr lang="fr-FR" sz="1600" dirty="0" err="1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etc</a:t>
              </a:r>
              <a:r>
                <a:rPr lang="fr-FR" sz="160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)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E357EE03-E5E5-C07D-5E39-AFEAF62885DE}"/>
                </a:ext>
              </a:extLst>
            </p:cNvPr>
            <p:cNvSpPr/>
            <p:nvPr/>
          </p:nvSpPr>
          <p:spPr>
            <a:xfrm>
              <a:off x="5045648" y="2243165"/>
              <a:ext cx="4058907" cy="3933898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1"/>
              <a:r>
                <a:rPr lang="fr-FR" sz="1600" dirty="0" err="1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Stacked</a:t>
              </a:r>
              <a:r>
                <a:rPr lang="fr-FR" sz="160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 bar évolution du prix (rouge, rouge clair, gris, </a:t>
              </a:r>
              <a:r>
                <a:rPr lang="fr-FR" sz="1600" dirty="0" err="1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etc</a:t>
              </a:r>
              <a:r>
                <a:rPr lang="fr-FR" sz="160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)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188B0E54-0A2E-0C59-3146-350C6B1815EF}"/>
                </a:ext>
              </a:extLst>
            </p:cNvPr>
            <p:cNvSpPr/>
            <p:nvPr/>
          </p:nvSpPr>
          <p:spPr>
            <a:xfrm>
              <a:off x="9331460" y="2243165"/>
              <a:ext cx="4058907" cy="3933898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1"/>
              <a:r>
                <a:rPr lang="fr-FR" sz="1600" dirty="0" err="1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Stacked</a:t>
              </a:r>
              <a:r>
                <a:rPr lang="fr-FR" sz="160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 bar évolution du prix (rouge, rouge clair, gris, </a:t>
              </a:r>
              <a:r>
                <a:rPr lang="fr-FR" sz="1600" dirty="0" err="1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etc</a:t>
              </a:r>
              <a:r>
                <a:rPr lang="fr-FR" sz="160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24479443"/>
      </p:ext>
    </p:extLst>
  </p:cSld>
  <p:clrMapOvr>
    <a:masterClrMapping/>
  </p:clrMapOvr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581967-5F65-32A9-3750-951D667316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964E1FE-3A1C-4CBC-56F1-ABE90397D5CD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FC91E9E-4AF7-489D-C7FC-2E2DA4B4F7A6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F854685E-5D2D-3D5D-3193-1B446DA7F7F5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FA3DF6-1818-AF1A-501A-A2FB415C1520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0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67C51964-0D78-A196-D748-9BE24C5EBFE4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4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Vérifier le positionnement prix</a:t>
            </a:r>
            <a:endParaRPr lang="fr-FR" sz="24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E2A9C9EC-01FE-2958-C46C-4FBE3A59D1A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1CAADC58-C0FA-5F19-3E83-0469791197D5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Nos campagnes ont-elles altérées notre territoire prix et nos concurrents directs ?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82A86E77-7088-497E-6A2F-08DC70C6F9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101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38A7E07B-F5F7-32FA-C096-6243EC1684FE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AA3BF555-D920-F5D4-5F4C-5556299E3EAC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XXX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9BF99F85-1869-90E9-2A8B-47E4A07FE08B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10462589"/>
      </p:ext>
    </p:extLst>
  </p:cSld>
  <p:clrMapOvr>
    <a:masterClrMapping/>
  </p:clrMapOvr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F98911-70B6-7297-C8AC-F6775D6619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39BF139-2B99-C180-AED4-369B17BC8360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3B68549-D846-65AF-A497-4A0DF952C805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78D503C3-CAD9-B210-FCE6-6FB479584B6A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AE5EA1F-AD4F-F826-DB8C-CC3F423E2B28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0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76990DF8-1750-3CB6-1694-C94768F89724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4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Vérifier le positionnement prix</a:t>
            </a:r>
            <a:endParaRPr lang="fr-FR" sz="24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34394E79-8567-923F-4DA4-B06D4678564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F3BB0C5-3531-27D1-A323-2AB3A22D4D1E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Certains acteurs plus haut de gamme entrent ils fréquemment dans notre territoire prix en période de promotion ?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2CBA9B10-53B8-C272-4568-E978BD1726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102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1B04E0CA-6323-A99E-FF25-0875FFA9BD81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4E15B222-E957-B5D8-0E8A-F9A74470031F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XXX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6FA619E0-8FAC-A77A-99FF-61D778D3A401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47475282"/>
      </p:ext>
    </p:extLst>
  </p:cSld>
  <p:clrMapOvr>
    <a:masterClrMapping/>
  </p:clrMapOvr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417088-BEE7-D6E5-B78A-9FE0EC8B9C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9F20290-618A-DAE7-20BA-A6923EFC4E02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B95E073-3FDD-C6FE-53DF-6895EAFC3ECB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20AC0639-87B3-A73F-76B1-8F7EBB41516F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CAFDF78-D1F1-ADAE-DDD0-4CD06D6D0F9C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0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F94B3403-7E3C-CBF3-86CA-EEA9CB552479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4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Vérifier le positionnement prix</a:t>
            </a:r>
            <a:endParaRPr lang="fr-FR" sz="24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6D2B74BC-4855-D169-76F7-AF0F50B56F2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FA82721-1B04-1BBA-B643-9AD504CE4543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Les campagnes ont-elles eu un impact sur le franchissement d’un prix psychologique ?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9A8B56AB-CA4F-3ACA-5893-075399F109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103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657A6728-1F95-A5E7-7949-BB0EA67AA39C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F2BB9CC0-0C32-BDF9-8A2E-0F217708775F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XXX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969989E4-CE9C-687D-12CA-F4E3FBFAA2A8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50369884"/>
      </p:ext>
    </p:extLst>
  </p:cSld>
  <p:clrMapOvr>
    <a:masterClrMapping/>
  </p:clrMapOvr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528D749-6D05-C09E-2968-2E13C039A2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8D0D1AAD-EA12-C0AC-6D85-9EB78B431D97}"/>
              </a:ext>
            </a:extLst>
          </p:cNvPr>
          <p:cNvGrpSpPr/>
          <p:nvPr/>
        </p:nvGrpSpPr>
        <p:grpSpPr>
          <a:xfrm>
            <a:off x="-1" y="0"/>
            <a:ext cx="7421078" cy="6858000"/>
            <a:chOff x="-1" y="0"/>
            <a:chExt cx="7421078" cy="685800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7D5E40D0-9274-425A-B05B-B2F0A9E283F3}"/>
                </a:ext>
              </a:extLst>
            </p:cNvPr>
            <p:cNvSpPr/>
            <p:nvPr/>
          </p:nvSpPr>
          <p:spPr>
            <a:xfrm>
              <a:off x="1" y="4454"/>
              <a:ext cx="7421076" cy="6853546"/>
            </a:xfrm>
            <a:prstGeom prst="rect">
              <a:avLst/>
            </a:prstGeom>
            <a:blipFill>
              <a:blip r:embed="rId3"/>
              <a:stretch>
                <a:fillRect l="-9598" r="-9598"/>
              </a:stretch>
            </a:blip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fr-FR" sz="1600" b="1" noProof="0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A31475C4-50D4-4564-25D4-8241B5384A27}"/>
                </a:ext>
              </a:extLst>
            </p:cNvPr>
            <p:cNvSpPr/>
            <p:nvPr/>
          </p:nvSpPr>
          <p:spPr>
            <a:xfrm>
              <a:off x="-1" y="0"/>
              <a:ext cx="7421076" cy="6858000"/>
            </a:xfrm>
            <a:prstGeom prst="rect">
              <a:avLst/>
            </a:prstGeom>
            <a:solidFill>
              <a:srgbClr val="303237">
                <a:alpha val="69804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fr-FR" sz="8800" b="1" noProof="0" dirty="0">
                <a:solidFill>
                  <a:schemeClr val="tx1">
                    <a:lumMod val="50000"/>
                    <a:lumOff val="50000"/>
                  </a:schemeClr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endParaRPr>
            </a:p>
          </p:txBody>
        </p:sp>
      </p:grp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E1C58984-D16B-6D0B-F698-D24C4E6DDB15}"/>
              </a:ext>
            </a:extLst>
          </p:cNvPr>
          <p:cNvSpPr/>
          <p:nvPr/>
        </p:nvSpPr>
        <p:spPr>
          <a:xfrm>
            <a:off x="5544152" y="524576"/>
            <a:ext cx="6188400" cy="5808848"/>
          </a:xfrm>
          <a:prstGeom prst="roundRect">
            <a:avLst>
              <a:gd name="adj" fmla="val 4074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tIns="468000" rIns="0" bIns="0" rtlCol="0" anchor="t"/>
          <a:lstStyle/>
          <a:p>
            <a:pPr algn="l"/>
            <a:r>
              <a:rPr lang="fr-FR" sz="2400" b="1" dirty="0">
                <a:solidFill>
                  <a:schemeClr val="accent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ommaire</a:t>
            </a:r>
            <a:endParaRPr lang="fr-FR" sz="2400" b="1" noProof="0" dirty="0">
              <a:solidFill>
                <a:schemeClr val="accent1"/>
              </a:solidFill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algn="l"/>
            <a:endParaRPr lang="fr-FR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400050" indent="-400050" algn="l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texte global</a:t>
            </a:r>
          </a:p>
          <a:p>
            <a:pPr marL="400050" indent="-400050" algn="l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Distribution et assortiment</a:t>
            </a:r>
          </a:p>
          <a:p>
            <a:pPr marL="400050" indent="-400050" algn="l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olitique tarifaire</a:t>
            </a:r>
          </a:p>
          <a:p>
            <a:pPr marL="400050" indent="-400050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Analyse promotionnelle</a:t>
            </a:r>
          </a:p>
          <a:p>
            <a:pPr marL="400050" indent="-400050">
              <a:buAutoNum type="romanUcPeriod"/>
            </a:pPr>
            <a:endParaRPr lang="fr-FR" noProof="0" dirty="0">
              <a:solidFill>
                <a:schemeClr val="bg1">
                  <a:lumMod val="75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400050" indent="-400050">
              <a:buFontTx/>
              <a:buAutoNum type="romanUcPeriod"/>
            </a:pPr>
            <a:r>
              <a:rPr lang="fr-FR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Disponibilité et ruptures</a:t>
            </a:r>
          </a:p>
          <a:p>
            <a:pPr marL="857250" lvl="1" indent="-400050">
              <a:buFont typeface="Arial" panose="020B0604020202020204" pitchFamily="34" charset="0"/>
              <a:buChar char="•"/>
            </a:pPr>
            <a:r>
              <a:rPr lang="fr-FR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1 :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Mesurer la rupture des produits</a:t>
            </a:r>
          </a:p>
          <a:p>
            <a:pPr marL="857250" lvl="1" indent="-400050">
              <a:buFont typeface="Arial" panose="020B0604020202020204" pitchFamily="34" charset="0"/>
              <a:buChar char="•"/>
            </a:pPr>
            <a:r>
              <a:rPr lang="fr-FR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2 :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Identifier les ruptures récurrentes</a:t>
            </a:r>
          </a:p>
          <a:p>
            <a:pPr marL="857250" lvl="1" indent="-400050">
              <a:buFont typeface="Arial" panose="020B0604020202020204" pitchFamily="34" charset="0"/>
              <a:buChar char="•"/>
            </a:pPr>
            <a:r>
              <a:rPr lang="fr-FR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3 :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uivre le délai de réassort</a:t>
            </a:r>
          </a:p>
          <a:p>
            <a:pPr marL="857250" lvl="1" indent="-400050">
              <a:buFont typeface="Arial" panose="020B0604020202020204" pitchFamily="34" charset="0"/>
              <a:buChar char="•"/>
            </a:pPr>
            <a:r>
              <a:rPr lang="fr-FR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4 :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naitre les signaux d’alertes</a:t>
            </a:r>
            <a:endParaRPr lang="fr-FR" b="1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400050" indent="-400050">
              <a:buFontTx/>
              <a:buAutoNum type="romanUcPeriod"/>
            </a:pPr>
            <a:endParaRPr lang="fr-FR" b="1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400050" indent="-400050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Territoires commerciaux</a:t>
            </a:r>
          </a:p>
          <a:p>
            <a:pPr marL="400050" indent="-400050">
              <a:buAutoNum type="romanUcPeriod"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925605474"/>
      </p:ext>
    </p:extLst>
  </p:cSld>
  <p:clrMapOvr>
    <a:masterClrMapping/>
  </p:clrMapOvr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4640D0-E7C2-987F-B5DA-D69D80F8B3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D35E99C-CC6C-11F0-FD44-76CDB4C662D5}"/>
              </a:ext>
            </a:extLst>
          </p:cNvPr>
          <p:cNvSpPr/>
          <p:nvPr/>
        </p:nvSpPr>
        <p:spPr>
          <a:xfrm>
            <a:off x="789832" y="661790"/>
            <a:ext cx="10456694" cy="553442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fr-FR" sz="16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1 : 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Mesurer la rupture des produit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mment a évolué le taux de disponibilité des différents produits et quel est le manque à gagner ?</a:t>
            </a:r>
          </a:p>
          <a:p>
            <a:pPr lvl="1"/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lvl="1"/>
            <a:r>
              <a:rPr lang="fr-FR" sz="16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2 : 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Identifier les ruptures récurrent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Y a-t-il des ruptures à répétition sur certains magasins ?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Les ruptures sont elles localisées sur une région ? </a:t>
            </a:r>
          </a:p>
          <a:p>
            <a:pPr lvl="1"/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lvl="1"/>
            <a:r>
              <a:rPr lang="fr-FR" sz="16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3 : 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uivre le délai de réassor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mbien de temps dure en moyenne une rupture ?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mment évolue ce délai sur les différents produits ?</a:t>
            </a:r>
          </a:p>
          <a:p>
            <a:pPr lvl="1"/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lvl="1"/>
            <a:r>
              <a:rPr lang="fr-FR" sz="16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4 : 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naitre les signaux d’alert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Les ruptures augmentent-elles avant ou après promotion ?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Les prix changent-ils avant une rupture ?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La rupture d’un produit est elle corrélée à la rupture des autres produits de la gamme ?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La position sur le site change-t-elle avant une rupture ?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Quels sont les magasins à risque actuellement ?</a:t>
            </a:r>
          </a:p>
        </p:txBody>
      </p:sp>
    </p:spTree>
    <p:extLst>
      <p:ext uri="{BB962C8B-B14F-4D97-AF65-F5344CB8AC3E}">
        <p14:creationId xmlns:p14="http://schemas.microsoft.com/office/powerpoint/2010/main" val="2210529557"/>
      </p:ext>
    </p:extLst>
  </p:cSld>
  <p:clrMapOvr>
    <a:masterClrMapping/>
  </p:clrMapOvr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7E50185-F1F6-9393-4911-B058DC112D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6F1D12A6-2A6F-A886-55B0-16DE7E5A3DA6}"/>
              </a:ext>
            </a:extLst>
          </p:cNvPr>
          <p:cNvGrpSpPr/>
          <p:nvPr/>
        </p:nvGrpSpPr>
        <p:grpSpPr>
          <a:xfrm>
            <a:off x="-1" y="0"/>
            <a:ext cx="7421078" cy="6858000"/>
            <a:chOff x="-1" y="0"/>
            <a:chExt cx="7421078" cy="685800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A795EBDE-FA82-9B1D-3CD8-0194614B6447}"/>
                </a:ext>
              </a:extLst>
            </p:cNvPr>
            <p:cNvSpPr/>
            <p:nvPr/>
          </p:nvSpPr>
          <p:spPr>
            <a:xfrm>
              <a:off x="1" y="4454"/>
              <a:ext cx="7421076" cy="6853546"/>
            </a:xfrm>
            <a:prstGeom prst="rect">
              <a:avLst/>
            </a:prstGeom>
            <a:blipFill>
              <a:blip r:embed="rId3"/>
              <a:stretch>
                <a:fillRect l="-9598" r="-9598"/>
              </a:stretch>
            </a:blip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fr-FR" sz="1600" b="1" noProof="0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FAD68100-4650-09B5-701D-8C831F0BA019}"/>
                </a:ext>
              </a:extLst>
            </p:cNvPr>
            <p:cNvSpPr/>
            <p:nvPr/>
          </p:nvSpPr>
          <p:spPr>
            <a:xfrm>
              <a:off x="-1" y="0"/>
              <a:ext cx="7421076" cy="6858000"/>
            </a:xfrm>
            <a:prstGeom prst="rect">
              <a:avLst/>
            </a:prstGeom>
            <a:solidFill>
              <a:srgbClr val="303237">
                <a:alpha val="69804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fr-FR" sz="8800" b="1" noProof="0" dirty="0">
                <a:solidFill>
                  <a:schemeClr val="tx1">
                    <a:lumMod val="50000"/>
                    <a:lumOff val="50000"/>
                  </a:schemeClr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endParaRPr>
            </a:p>
          </p:txBody>
        </p:sp>
      </p:grp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BE7CB706-879F-AEF7-D1FC-831AEFDDEC91}"/>
              </a:ext>
            </a:extLst>
          </p:cNvPr>
          <p:cNvSpPr/>
          <p:nvPr/>
        </p:nvSpPr>
        <p:spPr>
          <a:xfrm>
            <a:off x="5544152" y="524576"/>
            <a:ext cx="6188400" cy="5808848"/>
          </a:xfrm>
          <a:prstGeom prst="roundRect">
            <a:avLst>
              <a:gd name="adj" fmla="val 4074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tIns="468000" rIns="0" bIns="0" rtlCol="0" anchor="t"/>
          <a:lstStyle/>
          <a:p>
            <a:pPr algn="l"/>
            <a:r>
              <a:rPr lang="fr-FR" sz="2400" b="1" dirty="0">
                <a:solidFill>
                  <a:schemeClr val="accent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ommaire</a:t>
            </a:r>
            <a:endParaRPr lang="fr-FR" sz="2400" b="1" noProof="0" dirty="0">
              <a:solidFill>
                <a:schemeClr val="accent1"/>
              </a:solidFill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algn="l"/>
            <a:endParaRPr lang="fr-FR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400050" indent="-400050" algn="l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texte global</a:t>
            </a:r>
          </a:p>
          <a:p>
            <a:pPr marL="400050" indent="-400050" algn="l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Distribution et assortiment</a:t>
            </a:r>
          </a:p>
          <a:p>
            <a:pPr marL="400050" indent="-400050" algn="l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olitique tarifaire</a:t>
            </a:r>
          </a:p>
          <a:p>
            <a:pPr marL="400050" indent="-400050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Analyse promotionnelle</a:t>
            </a:r>
          </a:p>
          <a:p>
            <a:pPr marL="400050" indent="-400050">
              <a:buFontTx/>
              <a:buAutoNum type="romanUcPeriod"/>
            </a:pPr>
            <a:r>
              <a:rPr lang="fr-FR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Disponibilité et ruptures</a:t>
            </a:r>
          </a:p>
          <a:p>
            <a:pPr marL="400050" indent="-400050">
              <a:buFontTx/>
              <a:buAutoNum type="romanUcPeriod"/>
            </a:pPr>
            <a:endParaRPr lang="fr-FR" b="1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400050" indent="-400050">
              <a:buAutoNum type="romanUcPeriod"/>
            </a:pPr>
            <a:r>
              <a:rPr lang="fr-FR" b="1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Territoires commerciaux</a:t>
            </a:r>
          </a:p>
          <a:p>
            <a:pPr marL="857250" lvl="1" indent="-400050">
              <a:buFont typeface="Arial" panose="020B0604020202020204" pitchFamily="34" charset="0"/>
              <a:buChar char="•"/>
            </a:pP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ynthèse de la performance par territoire</a:t>
            </a:r>
          </a:p>
          <a:p>
            <a:pPr marL="857250" lvl="1" indent="-400050">
              <a:buFont typeface="Arial" panose="020B0604020202020204" pitchFamily="34" charset="0"/>
              <a:buChar char="•"/>
            </a:pPr>
            <a:r>
              <a:rPr lang="fr-FR" b="1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1 :</a:t>
            </a:r>
            <a:r>
              <a:rPr lang="fr-FR" b="1" i="1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lang="fr-FR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Identifier les actions prioritaires</a:t>
            </a:r>
          </a:p>
          <a:p>
            <a:pPr marL="857250" lvl="1" indent="-400050">
              <a:buFont typeface="Arial" panose="020B0604020202020204" pitchFamily="34" charset="0"/>
              <a:buChar char="•"/>
            </a:pPr>
            <a:r>
              <a:rPr lang="fr-FR" b="1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2 :</a:t>
            </a:r>
            <a:r>
              <a:rPr lang="fr-FR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Comprendre l’environnement</a:t>
            </a:r>
          </a:p>
          <a:p>
            <a:pPr marL="857250" lvl="1" indent="-400050">
              <a:buFont typeface="Arial" panose="020B0604020202020204" pitchFamily="34" charset="0"/>
              <a:buChar char="•"/>
            </a:pPr>
            <a:r>
              <a:rPr lang="fr-FR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3 :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Implémenter la conquête magasin</a:t>
            </a:r>
          </a:p>
          <a:p>
            <a:pPr marL="857250" lvl="1" indent="-400050">
              <a:buFont typeface="Arial" panose="020B0604020202020204" pitchFamily="34" charset="0"/>
              <a:buChar char="•"/>
            </a:pPr>
            <a:r>
              <a:rPr lang="fr-FR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4 :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enforcer l’efficacité sur le parc</a:t>
            </a:r>
          </a:p>
          <a:p>
            <a:pPr marL="400050" indent="-400050">
              <a:buAutoNum type="romanUcPeriod"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13966911"/>
      </p:ext>
    </p:extLst>
  </p:cSld>
  <p:clrMapOvr>
    <a:masterClrMapping/>
  </p:clrMapOvr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CDC050-58F5-D172-8660-C81D46414B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CD1589BB-D481-89DC-E7E0-8EAD5D2E3C60}"/>
              </a:ext>
            </a:extLst>
          </p:cNvPr>
          <p:cNvSpPr/>
          <p:nvPr/>
        </p:nvSpPr>
        <p:spPr>
          <a:xfrm>
            <a:off x="789832" y="239486"/>
            <a:ext cx="10456694" cy="637902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ynthèse de la performance par territoir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Tableau comparatif des principaux KPIs par zone commerciale 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  <a:sym typeface="Wingdings" panose="05000000000000000000" pitchFamily="2" charset="2"/>
              </a:rPr>
              <a:t> Une page pour comparer les performances sur les différentes régions (tableau de synthèse) sur les prix, les promotions, la distribution, les ruptures, etc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Liste des actions prioritaires par région sur une page (carte avec des bulles et une liste d’actions avec estimation du potentiel global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Identification des zones prioritaires</a:t>
            </a:r>
          </a:p>
          <a:p>
            <a:pPr lvl="1"/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our chacun des cas on boucle pour avoir tout le contenu d’une zone à la suite (tout le contenu zone 1, puis 2, 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tc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)</a:t>
            </a:r>
          </a:p>
          <a:p>
            <a:pPr lvl="1"/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lvl="1"/>
            <a:r>
              <a:rPr lang="fr-FR" sz="16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1 :</a:t>
            </a:r>
            <a:r>
              <a:rPr lang="fr-FR" sz="1600" b="1" i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Identifier les actions prioritair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1 page de synthèse pour chaque zone avec ses actions prioritaires détaillées et les impacts attendus par initiative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lvl="1"/>
            <a:r>
              <a:rPr lang="fr-FR" sz="16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2 :</a:t>
            </a:r>
            <a:r>
              <a:rPr lang="fr-FR" sz="1600" b="1" i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mprendre l’environnemen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Fiche d’identité détaillée sur chaque zone commerciale avec les concurrents locaux (et l’écart avec le 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natio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), les prix moyens, etc. 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  <a:sym typeface="Wingdings" panose="05000000000000000000" pitchFamily="2" charset="2"/>
              </a:rPr>
              <a:t> On se concentre sur les différences dans l’environnement de marché, les magasins sont ils plus grands, quels sont les concurrents avec une forte implantation locale, etc.</a:t>
            </a:r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lvl="1"/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lvl="1"/>
            <a:r>
              <a:rPr lang="fr-FR" sz="16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3 :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Implémenter la conquête magasi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Zoom sur les magasins à conquérir en priorité avec une liste des 10 magasins prioritaires (si pertinent)</a:t>
            </a:r>
          </a:p>
          <a:p>
            <a:pPr lvl="1"/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lvl="1"/>
            <a:r>
              <a:rPr lang="fr-FR" sz="16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4 : 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enforcer la performance sur le parc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Identifier les ruptures, incohérences prix, mise en avant produit, trous dans l’assortiment (i.e. renforcer le parc existant)</a:t>
            </a:r>
          </a:p>
          <a:p>
            <a:pPr lvl="1"/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8825340"/>
      </p:ext>
    </p:extLst>
  </p:cSld>
  <p:clrMapOvr>
    <a:masterClrMapping/>
  </p:clrMapOvr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Country road along the side of mountains">
            <a:extLst>
              <a:ext uri="{FF2B5EF4-FFF2-40B4-BE49-F238E27FC236}">
                <a16:creationId xmlns:a16="http://schemas.microsoft.com/office/drawing/2014/main" id="{F5308F07-B49D-2B14-72C3-8E1EC1193B9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498" b="10106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7DD808BD-E320-2008-8597-189AF6CF8D08}"/>
              </a:ext>
            </a:extLst>
          </p:cNvPr>
          <p:cNvSpPr/>
          <p:nvPr/>
        </p:nvSpPr>
        <p:spPr>
          <a:xfrm>
            <a:off x="2074127" y="1328286"/>
            <a:ext cx="8043746" cy="4201428"/>
          </a:xfrm>
          <a:prstGeom prst="roundRect">
            <a:avLst>
              <a:gd name="adj" fmla="val 5670"/>
            </a:avLst>
          </a:prstGeom>
          <a:solidFill>
            <a:srgbClr val="FFFFFF">
              <a:alpha val="8980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4400" b="1" dirty="0">
                <a:solidFill>
                  <a:schemeClr val="tx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tactez-nous</a:t>
            </a:r>
          </a:p>
          <a:p>
            <a:pPr algn="ctr"/>
            <a:endParaRPr lang="fr-FR" sz="5400" b="1" dirty="0">
              <a:solidFill>
                <a:schemeClr val="tx1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r>
              <a:rPr lang="fr-FR" sz="1400" dirty="0">
                <a:solidFill>
                  <a:schemeClr val="tx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	</a:t>
            </a:r>
            <a:r>
              <a:rPr lang="fr-FR" sz="1600" dirty="0">
                <a:solidFill>
                  <a:schemeClr val="tx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Vincent Moschetta : 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	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Vmoschetta@sammpo.fr</a:t>
            </a:r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	Tel. 		06 66 56 36 45</a:t>
            </a:r>
          </a:p>
          <a:p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r>
              <a:rPr lang="fr-FR" sz="16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	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ibora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Malollari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: 	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malollari@sammpo.fr</a:t>
            </a:r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r>
              <a:rPr lang="fr-FR" sz="16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	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Tel. 		06 19 72 06 69</a:t>
            </a:r>
          </a:p>
        </p:txBody>
      </p:sp>
    </p:spTree>
    <p:extLst>
      <p:ext uri="{BB962C8B-B14F-4D97-AF65-F5344CB8AC3E}">
        <p14:creationId xmlns:p14="http://schemas.microsoft.com/office/powerpoint/2010/main" val="97417481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699E42-DDBA-EB6A-E7D0-C04DB9DB9F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Rectangle 55">
            <a:extLst>
              <a:ext uri="{FF2B5EF4-FFF2-40B4-BE49-F238E27FC236}">
                <a16:creationId xmlns:a16="http://schemas.microsoft.com/office/drawing/2014/main" id="{7548E4F0-C752-CE7F-F2C6-0AB456A838CE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F521D19-FF5F-E4F7-F347-CB9C035DE5AC}"/>
              </a:ext>
            </a:extLst>
          </p:cNvPr>
          <p:cNvSpPr/>
          <p:nvPr/>
        </p:nvSpPr>
        <p:spPr>
          <a:xfrm>
            <a:off x="532930" y="1403928"/>
            <a:ext cx="6141703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594F7FD7-64C9-77E3-D7CE-AA7B139D8C74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A61B3A97-4AB9-296D-7013-355407BCBAF3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A001</a:t>
            </a:r>
            <a:endParaRPr lang="en-US" sz="1100" dirty="0">
              <a:solidFill>
                <a:schemeClr val="accent3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A6CA229-E9E1-5176-FF16-89A1F270540A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i="1">
                <a:latin typeface="Aptos" panose="020B0004020202020204" pitchFamily="34" charset="0"/>
              </a:rPr>
              <a:t>A. Contexte distributeur chez Leclerc</a:t>
            </a:r>
            <a:endParaRPr lang="fr-FR" sz="2800" b="1" dirty="0">
              <a:latin typeface="Aptos Black" panose="020B00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FC63F7F-9CBD-84A0-24EB-65D1AEF7A4B2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Comment évolue le poids de la catégorie Gin dans le rayon Spiritueux sur le dernier trimestre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B6636E4-7414-D3DF-04D9-7C94C14124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EF78A9-82AA-4C6F-AD45-43DF650E2802}" type="slidenum">
              <a:rPr lang="fr-FR" smtClean="0"/>
              <a:t>11</a:t>
            </a:fld>
            <a:endParaRPr lang="fr-FR"/>
          </a:p>
        </p:txBody>
      </p:sp>
      <p:pic>
        <p:nvPicPr>
          <p:cNvPr id="12" name="Picture 11" descr="A black background with grey letters&#10;&#10;AI-generated content may be incorrect.">
            <a:extLst>
              <a:ext uri="{FF2B5EF4-FFF2-40B4-BE49-F238E27FC236}">
                <a16:creationId xmlns:a16="http://schemas.microsoft.com/office/drawing/2014/main" id="{DF52AECA-7E83-1C17-D2F7-2165539501B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6582" y="90715"/>
            <a:ext cx="1475418" cy="398680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D4FF0C27-F6E8-4161-4285-880A09F4530D}"/>
              </a:ext>
            </a:extLst>
          </p:cNvPr>
          <p:cNvGrpSpPr/>
          <p:nvPr/>
        </p:nvGrpSpPr>
        <p:grpSpPr>
          <a:xfrm>
            <a:off x="6935720" y="1563201"/>
            <a:ext cx="4864394" cy="534498"/>
            <a:chOff x="1050129" y="1563201"/>
            <a:chExt cx="4326467" cy="534498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138D72A8-75D0-906C-8783-92F5686E311E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Évolution du nombre de spiritueux et de Gin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A8E7D0DB-F8C6-9028-3376-E149CDE5B33A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302E2B1-2488-47DB-162B-ABE8E9573E31}"/>
              </a:ext>
            </a:extLst>
          </p:cNvPr>
          <p:cNvGrpSpPr/>
          <p:nvPr/>
        </p:nvGrpSpPr>
        <p:grpSpPr>
          <a:xfrm>
            <a:off x="898071" y="1563201"/>
            <a:ext cx="5779927" cy="534498"/>
            <a:chOff x="898070" y="1563201"/>
            <a:chExt cx="8137944" cy="534498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96EF4A12-F580-DF25-9C09-6CE1C54C9003}"/>
                </a:ext>
              </a:extLst>
            </p:cNvPr>
            <p:cNvSpPr txBox="1"/>
            <p:nvPr/>
          </p:nvSpPr>
          <p:spPr>
            <a:xfrm>
              <a:off x="898070" y="1563201"/>
              <a:ext cx="794904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Poids de la catégorie dans le rayon en nombre de références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9E6E6357-9615-75BD-08F4-8079B67D3B96}"/>
                </a:ext>
              </a:extLst>
            </p:cNvPr>
            <p:cNvSpPr txBox="1"/>
            <p:nvPr/>
          </p:nvSpPr>
          <p:spPr>
            <a:xfrm>
              <a:off x="898071" y="1787741"/>
              <a:ext cx="8137943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Part des produits de la catégorie dans le rayon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8F9E0ABC-3AF2-5A65-C3C1-31C9D97F8DD8}"/>
              </a:ext>
            </a:extLst>
          </p:cNvPr>
          <p:cNvSpPr/>
          <p:nvPr/>
        </p:nvSpPr>
        <p:spPr>
          <a:xfrm>
            <a:off x="10965887" y="1971902"/>
            <a:ext cx="982446" cy="26670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1200" b="1" dirty="0">
                <a:solidFill>
                  <a:schemeClr val="bg1"/>
                </a:solidFill>
              </a:rPr>
              <a:t>Spiritueux</a:t>
            </a: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B09FE47A-8421-DC54-0E53-01141ED5361A}"/>
              </a:ext>
            </a:extLst>
          </p:cNvPr>
          <p:cNvSpPr/>
          <p:nvPr/>
        </p:nvSpPr>
        <p:spPr>
          <a:xfrm>
            <a:off x="10965887" y="4105422"/>
            <a:ext cx="982446" cy="266700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1200" b="1">
                <a:solidFill>
                  <a:schemeClr val="bg1"/>
                </a:solidFill>
              </a:rPr>
              <a:t>Gin</a:t>
            </a:r>
            <a:endParaRPr lang="fr-FR" sz="1200" b="1" dirty="0">
              <a:solidFill>
                <a:schemeClr val="bg1"/>
              </a:solidFill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2A9C6B4B-CB42-5714-FA88-A9809F66012E}"/>
              </a:ext>
            </a:extLst>
          </p:cNvPr>
          <p:cNvSpPr/>
          <p:nvPr/>
        </p:nvSpPr>
        <p:spPr>
          <a:xfrm>
            <a:off x="11209422" y="2492970"/>
            <a:ext cx="721491" cy="514944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1200">
                <a:solidFill>
                  <a:schemeClr val="accent1">
                    <a:lumMod val="60000"/>
                    <a:lumOff val="40000"/>
                  </a:schemeClr>
                </a:solidFill>
                <a:latin typeface="Aptos Black" panose="020B0004020202020204" pitchFamily="34" charset="0"/>
              </a:rPr>
              <a:t>+0,3%</a:t>
            </a:r>
            <a:endParaRPr lang="fr-FR" sz="1200" dirty="0">
              <a:solidFill>
                <a:schemeClr val="accent1">
                  <a:lumMod val="60000"/>
                  <a:lumOff val="40000"/>
                </a:schemeClr>
              </a:solidFill>
              <a:latin typeface="Aptos Black" panose="020B0004020202020204" pitchFamily="34" charset="0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7D7A1F03-C26D-DA54-7E63-DF3D137DC2E2}"/>
              </a:ext>
            </a:extLst>
          </p:cNvPr>
          <p:cNvSpPr/>
          <p:nvPr/>
        </p:nvSpPr>
        <p:spPr>
          <a:xfrm>
            <a:off x="11209422" y="4626491"/>
            <a:ext cx="721491" cy="514944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1200">
                <a:solidFill>
                  <a:schemeClr val="tx2">
                    <a:lumMod val="60000"/>
                    <a:lumOff val="40000"/>
                  </a:schemeClr>
                </a:solidFill>
                <a:latin typeface="Aptos Black" panose="020B0004020202020204" pitchFamily="34" charset="0"/>
              </a:rPr>
              <a:t>-1,2%</a:t>
            </a:r>
            <a:endParaRPr lang="fr-FR" sz="1200" dirty="0">
              <a:solidFill>
                <a:schemeClr val="tx2">
                  <a:lumMod val="60000"/>
                  <a:lumOff val="40000"/>
                </a:schemeClr>
              </a:solidFill>
              <a:latin typeface="Aptos Black" panose="020B000402020202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8A387D8-E54A-6B45-1305-AF5369D8139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2401" y="2114078"/>
            <a:ext cx="5671129" cy="413262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EF4FDFB-347F-71D3-676F-9357964645C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34121" y="4283223"/>
            <a:ext cx="4543405" cy="1963482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7B01CFC2-41A6-4937-0DA6-BBD406130A7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834121" y="2149703"/>
            <a:ext cx="4543403" cy="1963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729374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0E5D08-65D6-E167-B103-766ACAAE83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Rectangle 55">
            <a:extLst>
              <a:ext uri="{FF2B5EF4-FFF2-40B4-BE49-F238E27FC236}">
                <a16:creationId xmlns:a16="http://schemas.microsoft.com/office/drawing/2014/main" id="{73C02AF5-4470-F116-3228-246239F2AF66}"/>
              </a:ext>
            </a:extLst>
          </p:cNvPr>
          <p:cNvSpPr/>
          <p:nvPr/>
        </p:nvSpPr>
        <p:spPr>
          <a:xfrm>
            <a:off x="-1" y="1419694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5272FDF5-B419-D550-8B00-4C3916B416C8}"/>
              </a:ext>
            </a:extLst>
          </p:cNvPr>
          <p:cNvSpPr/>
          <p:nvPr/>
        </p:nvSpPr>
        <p:spPr>
          <a:xfrm>
            <a:off x="532930" y="1419694"/>
            <a:ext cx="8581291" cy="4986000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5285868F-4554-414D-94A1-ADF0CD96EBA1}"/>
              </a:ext>
            </a:extLst>
          </p:cNvPr>
          <p:cNvGrpSpPr/>
          <p:nvPr/>
        </p:nvGrpSpPr>
        <p:grpSpPr>
          <a:xfrm>
            <a:off x="1572101" y="2288081"/>
            <a:ext cx="7133097" cy="3243964"/>
            <a:chOff x="1572101" y="2288081"/>
            <a:chExt cx="7133097" cy="3243964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99B8477A-EAB8-8D59-881E-6DAA2E110329}"/>
                </a:ext>
              </a:extLst>
            </p:cNvPr>
            <p:cNvSpPr/>
            <p:nvPr/>
          </p:nvSpPr>
          <p:spPr>
            <a:xfrm>
              <a:off x="1572101" y="2288081"/>
              <a:ext cx="3562004" cy="3243964"/>
            </a:xfrm>
            <a:prstGeom prst="rect">
              <a:avLst/>
            </a:prstGeom>
            <a:solidFill>
              <a:srgbClr val="F7D4D8">
                <a:alpha val="10196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FD19DDC6-235C-7BB9-7F4A-DF6B97D748CA}"/>
                </a:ext>
              </a:extLst>
            </p:cNvPr>
            <p:cNvSpPr/>
            <p:nvPr/>
          </p:nvSpPr>
          <p:spPr>
            <a:xfrm>
              <a:off x="5143194" y="2288081"/>
              <a:ext cx="3562004" cy="3243964"/>
            </a:xfrm>
            <a:prstGeom prst="rect">
              <a:avLst/>
            </a:prstGeom>
            <a:solidFill>
              <a:srgbClr val="E2F0D9">
                <a:alpha val="10196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61EF33EB-F950-B6CF-18FE-8B88A209301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138649" y="2288263"/>
              <a:ext cx="0" cy="3243600"/>
            </a:xfrm>
            <a:prstGeom prst="line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7" name="Graphic 6" descr="Back with solid fill">
            <a:extLst>
              <a:ext uri="{FF2B5EF4-FFF2-40B4-BE49-F238E27FC236}">
                <a16:creationId xmlns:a16="http://schemas.microsoft.com/office/drawing/2014/main" id="{16FB696F-6685-36BC-47FC-F62386539F8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8900000" flipV="1">
            <a:off x="6562367" y="2312056"/>
            <a:ext cx="723658" cy="723658"/>
          </a:xfrm>
          <a:prstGeom prst="rect">
            <a:avLst/>
          </a:prstGeom>
        </p:spPr>
      </p:pic>
      <p:pic>
        <p:nvPicPr>
          <p:cNvPr id="15" name="Graphic 14" descr="Back with solid fill">
            <a:extLst>
              <a:ext uri="{FF2B5EF4-FFF2-40B4-BE49-F238E27FC236}">
                <a16:creationId xmlns:a16="http://schemas.microsoft.com/office/drawing/2014/main" id="{16BCEC2B-2A49-C73F-8F41-58A8853F153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2700000">
            <a:off x="2991274" y="2309985"/>
            <a:ext cx="723658" cy="737800"/>
          </a:xfrm>
          <a:prstGeom prst="rect">
            <a:avLst/>
          </a:prstGeom>
        </p:spPr>
      </p:pic>
      <p:sp>
        <p:nvSpPr>
          <p:cNvPr id="49" name="Rectangle 48">
            <a:extLst>
              <a:ext uri="{FF2B5EF4-FFF2-40B4-BE49-F238E27FC236}">
                <a16:creationId xmlns:a16="http://schemas.microsoft.com/office/drawing/2014/main" id="{DF046691-5190-49B5-4465-38F595CD2319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A002</a:t>
            </a:r>
            <a:endParaRPr lang="en-US" sz="1100" dirty="0">
              <a:solidFill>
                <a:schemeClr val="accent3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15EF6B27-A1AB-F45F-A4C7-31A363727054}"/>
              </a:ext>
            </a:extLst>
          </p:cNvPr>
          <p:cNvSpPr txBox="1"/>
          <p:nvPr/>
        </p:nvSpPr>
        <p:spPr>
          <a:xfrm>
            <a:off x="898070" y="1563201"/>
            <a:ext cx="7949047" cy="525401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 dirty="0">
                <a:latin typeface="Aptos" panose="020B0004020202020204" pitchFamily="34" charset="0"/>
              </a:rPr>
              <a:t>Répartition de l’évolution des prix par litre et par marque</a:t>
            </a:r>
          </a:p>
          <a:p>
            <a:endParaRPr lang="fr-FR" sz="1400" dirty="0">
              <a:latin typeface="Aptos" panose="020B0004020202020204" pitchFamily="34" charset="0"/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9BDCC8F0-3256-7FF8-9B28-8BE89DCB32D5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89EA426-CD7A-AACD-6639-B31532919734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i="1">
                <a:latin typeface="Aptos" panose="020B0004020202020204" pitchFamily="34" charset="0"/>
              </a:rPr>
              <a:t>A. Contexte distributeur chez Leclerc</a:t>
            </a:r>
            <a:endParaRPr lang="fr-FR" sz="2800" b="1" dirty="0">
              <a:latin typeface="Aptos Black" panose="020B00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E80D451-9CF0-32B7-86A0-F58E718B8E88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le stratégie prix globale a adopté Leclerc entre le 23 juin 2025 et le 22 sept 2025 sur le rayon Spiritueux et la catégorie Gin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FD2FA85-489A-76F9-94E4-77834ED16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EF78A9-82AA-4C6F-AD45-43DF650E2802}" type="slidenum">
              <a:rPr lang="fr-FR" smtClean="0"/>
              <a:t>12</a:t>
            </a:fld>
            <a:endParaRPr lang="fr-FR"/>
          </a:p>
        </p:txBody>
      </p:sp>
      <p:pic>
        <p:nvPicPr>
          <p:cNvPr id="12" name="Picture 11" descr="A black background with grey letters&#10;&#10;AI-generated content may be incorrect.">
            <a:extLst>
              <a:ext uri="{FF2B5EF4-FFF2-40B4-BE49-F238E27FC236}">
                <a16:creationId xmlns:a16="http://schemas.microsoft.com/office/drawing/2014/main" id="{EF3CAB54-4101-DFCC-4DD3-C959591485F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6582" y="90715"/>
            <a:ext cx="1475418" cy="39868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AF6BEC9-2EBA-F7E8-6ED0-4F0F2F929916}"/>
              </a:ext>
            </a:extLst>
          </p:cNvPr>
          <p:cNvSpPr txBox="1"/>
          <p:nvPr/>
        </p:nvSpPr>
        <p:spPr>
          <a:xfrm>
            <a:off x="898071" y="1787741"/>
            <a:ext cx="6328230" cy="309958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>
                <a:latin typeface="Aptos" panose="020B0004020202020204" pitchFamily="34" charset="0"/>
              </a:rPr>
              <a:t>Comparaison des prix entre le 23 juin 2025 et le  22 sept 2025 chez Leclerc</a:t>
            </a:r>
            <a:endParaRPr lang="fr-FR" sz="1400" dirty="0">
              <a:latin typeface="Aptos" panose="020B0004020202020204" pitchFamily="34" charset="0"/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8DCC83EF-C59F-B8E2-E55F-410EBED563BD}"/>
              </a:ext>
            </a:extLst>
          </p:cNvPr>
          <p:cNvSpPr/>
          <p:nvPr/>
        </p:nvSpPr>
        <p:spPr>
          <a:xfrm>
            <a:off x="11054787" y="1692552"/>
            <a:ext cx="982446" cy="266700"/>
          </a:xfrm>
          <a:prstGeom prst="roundRect">
            <a:avLst>
              <a:gd name="adj" fmla="val 50000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1200" b="1" dirty="0">
                <a:solidFill>
                  <a:schemeClr val="bg1"/>
                </a:solidFill>
              </a:rPr>
              <a:t>Spiritueux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7B778EC3-BFC6-0870-C9FB-7C27903FDC3A}"/>
              </a:ext>
            </a:extLst>
          </p:cNvPr>
          <p:cNvSpPr/>
          <p:nvPr/>
        </p:nvSpPr>
        <p:spPr>
          <a:xfrm>
            <a:off x="11054787" y="4059284"/>
            <a:ext cx="982446" cy="266700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1200" b="1">
                <a:solidFill>
                  <a:schemeClr val="bg1"/>
                </a:solidFill>
              </a:rPr>
              <a:t>Gin</a:t>
            </a:r>
            <a:endParaRPr lang="fr-FR" sz="1200" b="1" dirty="0">
              <a:solidFill>
                <a:schemeClr val="bg1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DE2C648-2222-555F-57EC-FE22E77016F5}"/>
              </a:ext>
            </a:extLst>
          </p:cNvPr>
          <p:cNvSpPr txBox="1"/>
          <p:nvPr/>
        </p:nvSpPr>
        <p:spPr>
          <a:xfrm>
            <a:off x="9352496" y="1670923"/>
            <a:ext cx="2353707" cy="309958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 dirty="0">
                <a:latin typeface="Aptos" panose="020B0004020202020204" pitchFamily="34" charset="0"/>
              </a:rPr>
              <a:t>Synthèse</a:t>
            </a:r>
            <a:endParaRPr lang="fr-FR" sz="1400" dirty="0">
              <a:latin typeface="Aptos" panose="020B00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C3340AC-A24A-729C-49C0-5534AA1619E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117738" y="4431564"/>
            <a:ext cx="3074193" cy="177538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A69BDC7-6FE1-5016-62BA-B366F49ED5A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117737" y="2105000"/>
            <a:ext cx="3074190" cy="1775387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134BC66A-17A7-BDD0-1E18-017D17F3DA9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98071" y="2322240"/>
            <a:ext cx="7956475" cy="3956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794456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183DBB-9F97-6743-966E-01AC1E9BF2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Rectangle 55">
            <a:extLst>
              <a:ext uri="{FF2B5EF4-FFF2-40B4-BE49-F238E27FC236}">
                <a16:creationId xmlns:a16="http://schemas.microsoft.com/office/drawing/2014/main" id="{67D8B9F9-1DAD-EF67-762C-143058C8541E}"/>
              </a:ext>
            </a:extLst>
          </p:cNvPr>
          <p:cNvSpPr/>
          <p:nvPr/>
        </p:nvSpPr>
        <p:spPr>
          <a:xfrm>
            <a:off x="-1" y="1420306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A1CD98C-630F-3FC2-0DAB-C59499BB730A}"/>
              </a:ext>
            </a:extLst>
          </p:cNvPr>
          <p:cNvSpPr/>
          <p:nvPr/>
        </p:nvSpPr>
        <p:spPr>
          <a:xfrm>
            <a:off x="532931" y="1419694"/>
            <a:ext cx="4651318" cy="4986000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7EB4DCB0-D751-B67B-8C6C-E835B68F96AB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F33949B3-2DF3-EEC7-C02C-814B67366234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A004</a:t>
            </a:r>
            <a:endParaRPr lang="en-US" sz="1100" dirty="0">
              <a:solidFill>
                <a:schemeClr val="accent3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0B491E0-73FE-5301-2D8D-0266A406DECE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i="1">
                <a:latin typeface="Aptos" panose="020B0004020202020204" pitchFamily="34" charset="0"/>
              </a:rPr>
              <a:t>A. Contexte distributeur chez Leclerc</a:t>
            </a:r>
            <a:endParaRPr lang="fr-FR" sz="2800" b="1" dirty="0">
              <a:latin typeface="Aptos Black" panose="020B00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B5B191A-9AEF-CFD0-0B67-CAA15C490211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les sont les catégories les plus favorables à la distribution de Gin, en termes de poids et de dynamisme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A5F7BEC-D01E-3249-7015-0A7B4EE36F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EF78A9-82AA-4C6F-AD45-43DF650E2802}" type="slidenum">
              <a:rPr lang="fr-FR" smtClean="0"/>
              <a:t>13</a:t>
            </a:fld>
            <a:endParaRPr lang="fr-FR"/>
          </a:p>
        </p:txBody>
      </p:sp>
      <p:pic>
        <p:nvPicPr>
          <p:cNvPr id="12" name="Picture 11" descr="A black background with grey letters&#10;&#10;AI-generated content may be incorrect.">
            <a:extLst>
              <a:ext uri="{FF2B5EF4-FFF2-40B4-BE49-F238E27FC236}">
                <a16:creationId xmlns:a16="http://schemas.microsoft.com/office/drawing/2014/main" id="{6A8DDF07-257E-24A9-80FF-8485A8B6E4E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6582" y="90715"/>
            <a:ext cx="1475418" cy="398680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BBD7DC95-C78F-2676-4CFF-2005DD556A13}"/>
              </a:ext>
            </a:extLst>
          </p:cNvPr>
          <p:cNvGrpSpPr/>
          <p:nvPr/>
        </p:nvGrpSpPr>
        <p:grpSpPr>
          <a:xfrm>
            <a:off x="898071" y="1563201"/>
            <a:ext cx="3986307" cy="534498"/>
            <a:chOff x="898069" y="1563201"/>
            <a:chExt cx="9098881" cy="534498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29C12DAE-D300-93C4-0E4F-DC24F3199E7F}"/>
                </a:ext>
              </a:extLst>
            </p:cNvPr>
            <p:cNvSpPr txBox="1"/>
            <p:nvPr/>
          </p:nvSpPr>
          <p:spPr>
            <a:xfrm>
              <a:off x="898069" y="1563201"/>
              <a:ext cx="9098879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Nombre de Gin proposés par magasin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66041D35-B181-E565-A6F5-FD223BC55CD3}"/>
                </a:ext>
              </a:extLst>
            </p:cNvPr>
            <p:cNvSpPr txBox="1"/>
            <p:nvPr/>
          </p:nvSpPr>
          <p:spPr>
            <a:xfrm>
              <a:off x="898071" y="1787741"/>
              <a:ext cx="9098879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9D9C1D19-030A-DB8D-17B6-18E4BE0A6A82}"/>
              </a:ext>
            </a:extLst>
          </p:cNvPr>
          <p:cNvSpPr txBox="1"/>
          <p:nvPr/>
        </p:nvSpPr>
        <p:spPr>
          <a:xfrm>
            <a:off x="8252659" y="1547812"/>
            <a:ext cx="1087912" cy="463846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200" b="1">
                <a:latin typeface="Aptos" panose="020B0004020202020204" pitchFamily="34" charset="0"/>
              </a:rPr>
              <a:t>Spiritueux </a:t>
            </a:r>
          </a:p>
          <a:p>
            <a:r>
              <a:rPr lang="fr-FR" sz="1200" b="1">
                <a:latin typeface="Aptos" panose="020B0004020202020204" pitchFamily="34" charset="0"/>
              </a:rPr>
              <a:t>par magasin</a:t>
            </a:r>
            <a:endParaRPr lang="fr-FR" sz="1200" b="1" dirty="0">
              <a:latin typeface="Aptos" panose="020B00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25C0B41-FA85-B5DB-3B88-945070E790F0}"/>
              </a:ext>
            </a:extLst>
          </p:cNvPr>
          <p:cNvSpPr txBox="1"/>
          <p:nvPr/>
        </p:nvSpPr>
        <p:spPr>
          <a:xfrm>
            <a:off x="9374118" y="1547812"/>
            <a:ext cx="1087912" cy="463846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200" b="1">
                <a:latin typeface="Aptos" panose="020B0004020202020204" pitchFamily="34" charset="0"/>
              </a:rPr>
              <a:t>Nombre de </a:t>
            </a:r>
          </a:p>
          <a:p>
            <a:r>
              <a:rPr lang="fr-FR" sz="1200" b="1">
                <a:latin typeface="Aptos" panose="020B0004020202020204" pitchFamily="34" charset="0"/>
              </a:rPr>
              <a:t>Gin</a:t>
            </a:r>
            <a:endParaRPr lang="fr-FR" sz="1200" b="1" dirty="0">
              <a:latin typeface="Aptos" panose="020B0004020202020204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D0EC2256-1354-735B-57F6-27D07F1E7DB6}"/>
              </a:ext>
            </a:extLst>
          </p:cNvPr>
          <p:cNvSpPr txBox="1"/>
          <p:nvPr/>
        </p:nvSpPr>
        <p:spPr>
          <a:xfrm>
            <a:off x="7131200" y="1547812"/>
            <a:ext cx="1087912" cy="463846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200" b="1" dirty="0">
                <a:latin typeface="Aptos" panose="020B0004020202020204" pitchFamily="34" charset="0"/>
              </a:rPr>
              <a:t>Nombre de magasins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750C1187-C464-2DD6-0C89-65908F5FCCD6}"/>
              </a:ext>
            </a:extLst>
          </p:cNvPr>
          <p:cNvSpPr txBox="1"/>
          <p:nvPr/>
        </p:nvSpPr>
        <p:spPr>
          <a:xfrm>
            <a:off x="10409851" y="1547812"/>
            <a:ext cx="1207185" cy="463846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en-US" sz="1200" b="1">
                <a:latin typeface="Aptos" panose="020B0004020202020204" pitchFamily="34" charset="0"/>
              </a:rPr>
              <a:t>Evol. Gin vs. 23 juin 2025</a:t>
            </a:r>
            <a:endParaRPr lang="fr-FR" sz="1200" b="1" dirty="0">
              <a:latin typeface="Aptos" panose="020B0004020202020204" pitchFamily="34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66BAC6F6-A3BF-7221-4ABF-CF20E4F9347E}"/>
              </a:ext>
            </a:extLst>
          </p:cNvPr>
          <p:cNvGrpSpPr/>
          <p:nvPr/>
        </p:nvGrpSpPr>
        <p:grpSpPr>
          <a:xfrm>
            <a:off x="5288745" y="2020782"/>
            <a:ext cx="6294746" cy="3960000"/>
            <a:chOff x="5288745" y="2049966"/>
            <a:chExt cx="6294746" cy="3946164"/>
          </a:xfrm>
        </p:grpSpPr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C85660DB-6FA2-4F41-2BEB-3186D62EBBA8}"/>
                </a:ext>
              </a:extLst>
            </p:cNvPr>
            <p:cNvCxnSpPr/>
            <p:nvPr/>
          </p:nvCxnSpPr>
          <p:spPr>
            <a:xfrm>
              <a:off x="5288745" y="2353517"/>
              <a:ext cx="6294746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3D54C158-05AD-A085-394E-61D0DB126622}"/>
                </a:ext>
              </a:extLst>
            </p:cNvPr>
            <p:cNvCxnSpPr/>
            <p:nvPr/>
          </p:nvCxnSpPr>
          <p:spPr>
            <a:xfrm>
              <a:off x="5288745" y="2049966"/>
              <a:ext cx="6294746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8F96B7D0-B85B-12C4-EE55-E433584A81EE}"/>
                </a:ext>
              </a:extLst>
            </p:cNvPr>
            <p:cNvCxnSpPr/>
            <p:nvPr/>
          </p:nvCxnSpPr>
          <p:spPr>
            <a:xfrm>
              <a:off x="5288745" y="2657068"/>
              <a:ext cx="6294746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8F0EE058-A117-D16A-C8C1-D5910F9A4BCE}"/>
                </a:ext>
              </a:extLst>
            </p:cNvPr>
            <p:cNvCxnSpPr/>
            <p:nvPr/>
          </p:nvCxnSpPr>
          <p:spPr>
            <a:xfrm>
              <a:off x="5288745" y="2960619"/>
              <a:ext cx="6294746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87A9F7B0-D248-0610-CCA0-D020B0EEFF27}"/>
                </a:ext>
              </a:extLst>
            </p:cNvPr>
            <p:cNvCxnSpPr/>
            <p:nvPr/>
          </p:nvCxnSpPr>
          <p:spPr>
            <a:xfrm>
              <a:off x="5288745" y="3264170"/>
              <a:ext cx="6294746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5DFC2069-5975-0D33-828D-1451A7C37F69}"/>
                </a:ext>
              </a:extLst>
            </p:cNvPr>
            <p:cNvCxnSpPr/>
            <p:nvPr/>
          </p:nvCxnSpPr>
          <p:spPr>
            <a:xfrm>
              <a:off x="5288745" y="3567721"/>
              <a:ext cx="6294746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AF89E9D7-673E-EE1B-F696-5D65301B1231}"/>
                </a:ext>
              </a:extLst>
            </p:cNvPr>
            <p:cNvCxnSpPr/>
            <p:nvPr/>
          </p:nvCxnSpPr>
          <p:spPr>
            <a:xfrm>
              <a:off x="5288745" y="3871272"/>
              <a:ext cx="6294746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F4D767AD-0F0F-0F69-E108-8453B7335FA3}"/>
                </a:ext>
              </a:extLst>
            </p:cNvPr>
            <p:cNvCxnSpPr/>
            <p:nvPr/>
          </p:nvCxnSpPr>
          <p:spPr>
            <a:xfrm>
              <a:off x="5288745" y="4174823"/>
              <a:ext cx="6294746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147595F2-C6AE-F4EC-7644-0E95A3C0FACE}"/>
                </a:ext>
              </a:extLst>
            </p:cNvPr>
            <p:cNvCxnSpPr/>
            <p:nvPr/>
          </p:nvCxnSpPr>
          <p:spPr>
            <a:xfrm>
              <a:off x="5288745" y="4478374"/>
              <a:ext cx="6294746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14B4E44A-83CE-4A78-AC28-20D13ED41924}"/>
                </a:ext>
              </a:extLst>
            </p:cNvPr>
            <p:cNvCxnSpPr/>
            <p:nvPr/>
          </p:nvCxnSpPr>
          <p:spPr>
            <a:xfrm>
              <a:off x="5288745" y="4781925"/>
              <a:ext cx="6294746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F16D211C-8903-0118-7D5F-126DC024A1CA}"/>
                </a:ext>
              </a:extLst>
            </p:cNvPr>
            <p:cNvCxnSpPr/>
            <p:nvPr/>
          </p:nvCxnSpPr>
          <p:spPr>
            <a:xfrm>
              <a:off x="5288745" y="5389027"/>
              <a:ext cx="6294746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EA6B36F3-FC36-D097-D006-2A7E40056D17}"/>
                </a:ext>
              </a:extLst>
            </p:cNvPr>
            <p:cNvCxnSpPr/>
            <p:nvPr/>
          </p:nvCxnSpPr>
          <p:spPr>
            <a:xfrm>
              <a:off x="5288745" y="5692578"/>
              <a:ext cx="6294746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A6419F0A-0B53-E42F-454B-F6EE06C1F027}"/>
                </a:ext>
              </a:extLst>
            </p:cNvPr>
            <p:cNvCxnSpPr/>
            <p:nvPr/>
          </p:nvCxnSpPr>
          <p:spPr>
            <a:xfrm>
              <a:off x="5288745" y="5996130"/>
              <a:ext cx="6294746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DFB60363-87AF-80B5-CF98-A4A77DB6AECC}"/>
                </a:ext>
              </a:extLst>
            </p:cNvPr>
            <p:cNvCxnSpPr/>
            <p:nvPr/>
          </p:nvCxnSpPr>
          <p:spPr>
            <a:xfrm>
              <a:off x="5288745" y="5085476"/>
              <a:ext cx="6294746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0ED9E0B0-94CD-0EEA-DBCE-E288A050E40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75229" y="1870700"/>
            <a:ext cx="3717471" cy="4284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C75BB6C-8E30-E5B5-2BE3-7E196FADB8E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71702" y="1870700"/>
            <a:ext cx="1752891" cy="4284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46AB2FD4-908C-BC92-FFA0-6B97C77071B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393268" y="1870700"/>
            <a:ext cx="1207683" cy="42840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D775D472-8CFF-7DE9-7A1A-E4B284EB571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458071" y="1916349"/>
            <a:ext cx="833234" cy="4228623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10A5EC6D-78B3-7280-EA3B-6E5FD0BEE2D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31249" y="2029270"/>
            <a:ext cx="4643195" cy="43904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568715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7D9B48-5687-2650-1B38-67A5518F44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Rectangle 55">
            <a:extLst>
              <a:ext uri="{FF2B5EF4-FFF2-40B4-BE49-F238E27FC236}">
                <a16:creationId xmlns:a16="http://schemas.microsoft.com/office/drawing/2014/main" id="{B87B5A67-8C8E-CFBB-1D77-05BCFE80AB1C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D0A51EB-9DFF-93F5-3E9A-0DCAE1BFF4ED}"/>
              </a:ext>
            </a:extLst>
          </p:cNvPr>
          <p:cNvSpPr/>
          <p:nvPr/>
        </p:nvSpPr>
        <p:spPr>
          <a:xfrm>
            <a:off x="532930" y="1403928"/>
            <a:ext cx="11190758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3BE85EB4-27E2-6426-D411-C6892020F7B5}"/>
              </a:ext>
            </a:extLst>
          </p:cNvPr>
          <p:cNvSpPr txBox="1"/>
          <p:nvPr/>
        </p:nvSpPr>
        <p:spPr>
          <a:xfrm>
            <a:off x="898070" y="1563201"/>
            <a:ext cx="10701729" cy="525401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>
                <a:latin typeface="Aptos" panose="020B0004020202020204" pitchFamily="34" charset="0"/>
              </a:rPr>
              <a:t>Prix par litre avant promotion moyen sur les marques de Gin chez Leclerc au 22 sept 2025.</a:t>
            </a:r>
          </a:p>
          <a:p>
            <a:endParaRPr lang="fr-FR" sz="1400" dirty="0">
              <a:latin typeface="Aptos" panose="020B0004020202020204" pitchFamily="34" charset="0"/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B508A04E-DB8E-BCBF-0D0F-AA05013561A1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8610152F-CCCA-AC85-8AC6-5F3F8DEEED0E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A102</a:t>
            </a:r>
            <a:endParaRPr lang="en-US" sz="1100" dirty="0">
              <a:solidFill>
                <a:schemeClr val="accent3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66D4E66-DED5-839F-B946-CFBB6A08BB2A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i="1" dirty="0">
                <a:latin typeface="Aptos" panose="020B0004020202020204" pitchFamily="34" charset="0"/>
              </a:rPr>
              <a:t>B. Environnement concurrentiel</a:t>
            </a:r>
            <a:endParaRPr lang="fr-FR" sz="2800" b="1" dirty="0">
              <a:latin typeface="Aptos Black" panose="020B00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7E1C605-7CB6-C29D-03EC-6A12362AF407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Comment se positionne Bombay sur sa catégorie et quelle est sa performance par rapport à ses principaux concurrents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CB3316E-FCFA-6C75-2BF0-5628C9EB63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EF78A9-82AA-4C6F-AD45-43DF650E2802}" type="slidenum">
              <a:rPr lang="fr-FR" smtClean="0"/>
              <a:t>14</a:t>
            </a:fld>
            <a:endParaRPr lang="fr-FR"/>
          </a:p>
        </p:txBody>
      </p:sp>
      <p:pic>
        <p:nvPicPr>
          <p:cNvPr id="12" name="Picture 11" descr="A black background with grey letters&#10;&#10;AI-generated content may be incorrect.">
            <a:extLst>
              <a:ext uri="{FF2B5EF4-FFF2-40B4-BE49-F238E27FC236}">
                <a16:creationId xmlns:a16="http://schemas.microsoft.com/office/drawing/2014/main" id="{77822435-1F4C-FF80-44F1-0BB15B249A0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6582" y="90715"/>
            <a:ext cx="1475418" cy="39868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AD93539-3033-BDD7-117A-70CD10E288DA}"/>
              </a:ext>
            </a:extLst>
          </p:cNvPr>
          <p:cNvSpPr txBox="1"/>
          <p:nvPr/>
        </p:nvSpPr>
        <p:spPr>
          <a:xfrm>
            <a:off x="898070" y="1787741"/>
            <a:ext cx="10701729" cy="309958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>
                <a:latin typeface="Aptos" panose="020B0004020202020204" pitchFamily="34" charset="0"/>
              </a:rPr>
              <a:t>Top [Top_marque] des marques de Gin en termes de distribution numérique</a:t>
            </a:r>
            <a:endParaRPr lang="fr-FR" sz="1400" dirty="0">
              <a:latin typeface="Aptos" panose="020B00040202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888CE80-B7DE-7AFD-4984-D59A87B2E77C}"/>
              </a:ext>
            </a:extLst>
          </p:cNvPr>
          <p:cNvSpPr/>
          <p:nvPr/>
        </p:nvSpPr>
        <p:spPr>
          <a:xfrm>
            <a:off x="10246567" y="5994873"/>
            <a:ext cx="1361288" cy="3862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fr-FR" sz="1100" i="1">
                <a:solidFill>
                  <a:schemeClr val="tx1"/>
                </a:solidFill>
                <a:latin typeface="+mj-lt"/>
              </a:rPr>
              <a:t>Evol. DN VS 23 juin 2025</a:t>
            </a:r>
            <a:endParaRPr lang="fr-FR" sz="1100" i="1" dirty="0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72CB548-A92F-2FA0-1D6D-B56C226D3FE4}"/>
              </a:ext>
            </a:extLst>
          </p:cNvPr>
          <p:cNvGrpSpPr/>
          <p:nvPr/>
        </p:nvGrpSpPr>
        <p:grpSpPr>
          <a:xfrm>
            <a:off x="1232573" y="2157445"/>
            <a:ext cx="10367226" cy="381872"/>
            <a:chOff x="898070" y="2157447"/>
            <a:chExt cx="10825618" cy="381872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739C2A39-91BD-1A5C-24D0-2FA09AED86F6}"/>
                </a:ext>
              </a:extLst>
            </p:cNvPr>
            <p:cNvGrpSpPr/>
            <p:nvPr/>
          </p:nvGrpSpPr>
          <p:grpSpPr>
            <a:xfrm>
              <a:off x="898070" y="2471085"/>
              <a:ext cx="10825618" cy="68234"/>
              <a:chOff x="1064302" y="2366155"/>
              <a:chExt cx="13233816" cy="68234"/>
            </a:xfrm>
          </p:grpSpPr>
          <p:sp>
            <p:nvSpPr>
              <p:cNvPr id="18" name="Rectangle: Rounded Corners 17">
                <a:extLst>
                  <a:ext uri="{FF2B5EF4-FFF2-40B4-BE49-F238E27FC236}">
                    <a16:creationId xmlns:a16="http://schemas.microsoft.com/office/drawing/2014/main" id="{8899699D-9E51-8D41-F915-70C923A1D864}"/>
                  </a:ext>
                </a:extLst>
              </p:cNvPr>
              <p:cNvSpPr/>
              <p:nvPr/>
            </p:nvSpPr>
            <p:spPr>
              <a:xfrm>
                <a:off x="1064302" y="2366155"/>
                <a:ext cx="4212236" cy="68234"/>
              </a:xfrm>
              <a:prstGeom prst="roundRect">
                <a:avLst>
                  <a:gd name="adj" fmla="val 50000"/>
                </a:avLst>
              </a:prstGeom>
              <a:solidFill>
                <a:srgbClr val="E6AF00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sp>
            <p:nvSpPr>
              <p:cNvPr id="23" name="Rectangle: Rounded Corners 22">
                <a:extLst>
                  <a:ext uri="{FF2B5EF4-FFF2-40B4-BE49-F238E27FC236}">
                    <a16:creationId xmlns:a16="http://schemas.microsoft.com/office/drawing/2014/main" id="{31EE310D-8050-D184-4831-2973688298EC}"/>
                  </a:ext>
                </a:extLst>
              </p:cNvPr>
              <p:cNvSpPr/>
              <p:nvPr/>
            </p:nvSpPr>
            <p:spPr>
              <a:xfrm>
                <a:off x="5575092" y="2366155"/>
                <a:ext cx="4212236" cy="68234"/>
              </a:xfrm>
              <a:prstGeom prst="roundRect">
                <a:avLst>
                  <a:gd name="adj" fmla="val 50000"/>
                </a:avLst>
              </a:prstGeom>
              <a:solidFill>
                <a:schemeClr val="accent4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sp>
            <p:nvSpPr>
              <p:cNvPr id="25" name="Rectangle: Rounded Corners 24">
                <a:extLst>
                  <a:ext uri="{FF2B5EF4-FFF2-40B4-BE49-F238E27FC236}">
                    <a16:creationId xmlns:a16="http://schemas.microsoft.com/office/drawing/2014/main" id="{36FA17A6-C60C-9809-6B13-75382FCF238A}"/>
                  </a:ext>
                </a:extLst>
              </p:cNvPr>
              <p:cNvSpPr/>
              <p:nvPr/>
            </p:nvSpPr>
            <p:spPr>
              <a:xfrm>
                <a:off x="10085882" y="2366155"/>
                <a:ext cx="4212236" cy="68234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717592C9-36B5-18C9-3446-C40048916499}"/>
                </a:ext>
              </a:extLst>
            </p:cNvPr>
            <p:cNvGrpSpPr/>
            <p:nvPr/>
          </p:nvGrpSpPr>
          <p:grpSpPr>
            <a:xfrm>
              <a:off x="898070" y="2157447"/>
              <a:ext cx="10825618" cy="275029"/>
              <a:chOff x="1064302" y="2366155"/>
              <a:chExt cx="13233816" cy="68234"/>
            </a:xfrm>
          </p:grpSpPr>
          <p:sp>
            <p:nvSpPr>
              <p:cNvPr id="29" name="Rectangle: Rounded Corners 28">
                <a:extLst>
                  <a:ext uri="{FF2B5EF4-FFF2-40B4-BE49-F238E27FC236}">
                    <a16:creationId xmlns:a16="http://schemas.microsoft.com/office/drawing/2014/main" id="{5B300B7A-63CD-42EF-4DBF-5312607BBB5E}"/>
                  </a:ext>
                </a:extLst>
              </p:cNvPr>
              <p:cNvSpPr/>
              <p:nvPr/>
            </p:nvSpPr>
            <p:spPr>
              <a:xfrm>
                <a:off x="1064302" y="2366155"/>
                <a:ext cx="4212235" cy="68234"/>
              </a:xfrm>
              <a:prstGeom prst="roundRect">
                <a:avLst>
                  <a:gd name="adj" fmla="val 0"/>
                </a:avLst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fr-FR" sz="1200" b="1" dirty="0">
                    <a:solidFill>
                      <a:srgbClr val="E6AF00"/>
                    </a:solidFill>
                  </a:rPr>
                  <a:t>Haut de gamme</a:t>
                </a:r>
              </a:p>
            </p:txBody>
          </p:sp>
          <p:sp>
            <p:nvSpPr>
              <p:cNvPr id="30" name="Rectangle: Rounded Corners 29">
                <a:extLst>
                  <a:ext uri="{FF2B5EF4-FFF2-40B4-BE49-F238E27FC236}">
                    <a16:creationId xmlns:a16="http://schemas.microsoft.com/office/drawing/2014/main" id="{21F64C64-42D5-4A6D-85E8-CE6426C095C8}"/>
                  </a:ext>
                </a:extLst>
              </p:cNvPr>
              <p:cNvSpPr/>
              <p:nvPr/>
            </p:nvSpPr>
            <p:spPr>
              <a:xfrm>
                <a:off x="5575092" y="2366155"/>
                <a:ext cx="4212235" cy="68234"/>
              </a:xfrm>
              <a:prstGeom prst="roundRect">
                <a:avLst>
                  <a:gd name="adj" fmla="val 0"/>
                </a:avLst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fr-FR" sz="1200" b="1" dirty="0">
                    <a:solidFill>
                      <a:schemeClr val="accent4"/>
                    </a:solidFill>
                  </a:rPr>
                  <a:t>Milieu de gamme</a:t>
                </a:r>
              </a:p>
            </p:txBody>
          </p:sp>
          <p:sp>
            <p:nvSpPr>
              <p:cNvPr id="31" name="Rectangle: Rounded Corners 30">
                <a:extLst>
                  <a:ext uri="{FF2B5EF4-FFF2-40B4-BE49-F238E27FC236}">
                    <a16:creationId xmlns:a16="http://schemas.microsoft.com/office/drawing/2014/main" id="{BAFDDE50-5A5F-92A1-5D47-8C6D84EE8F03}"/>
                  </a:ext>
                </a:extLst>
              </p:cNvPr>
              <p:cNvSpPr/>
              <p:nvPr/>
            </p:nvSpPr>
            <p:spPr>
              <a:xfrm>
                <a:off x="10085883" y="2366155"/>
                <a:ext cx="4212235" cy="68234"/>
              </a:xfrm>
              <a:prstGeom prst="roundRect">
                <a:avLst>
                  <a:gd name="adj" fmla="val 0"/>
                </a:avLst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fr-FR" sz="1200" b="1" dirty="0">
                    <a:solidFill>
                      <a:schemeClr val="bg1">
                        <a:lumMod val="50000"/>
                      </a:schemeClr>
                    </a:solidFill>
                  </a:rPr>
                  <a:t>Entrée de gamme</a:t>
                </a:r>
              </a:p>
            </p:txBody>
          </p:sp>
        </p:grp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E81B9CF9-9AF9-0FAF-7EC6-CC8D3F394C3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2932" y="2654331"/>
            <a:ext cx="11071369" cy="306708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AE68DDD-533E-6360-ECB6-BF283F97B5D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69166" y="5614577"/>
            <a:ext cx="10817314" cy="564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656552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BD579F-7D5A-9B6F-A43E-88CEB4EFAF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Rectangle 55">
            <a:extLst>
              <a:ext uri="{FF2B5EF4-FFF2-40B4-BE49-F238E27FC236}">
                <a16:creationId xmlns:a16="http://schemas.microsoft.com/office/drawing/2014/main" id="{3500572D-0E15-A149-112E-F066B25F8C30}"/>
              </a:ext>
            </a:extLst>
          </p:cNvPr>
          <p:cNvSpPr/>
          <p:nvPr/>
        </p:nvSpPr>
        <p:spPr>
          <a:xfrm>
            <a:off x="0" y="1420305"/>
            <a:ext cx="8630480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65C7F5E-4AC8-D859-D3AD-C441043E514A}"/>
              </a:ext>
            </a:extLst>
          </p:cNvPr>
          <p:cNvSpPr/>
          <p:nvPr/>
        </p:nvSpPr>
        <p:spPr>
          <a:xfrm>
            <a:off x="532930" y="1420305"/>
            <a:ext cx="7597539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BF734B0C-717C-AAE5-035B-3B2464040043}"/>
              </a:ext>
            </a:extLst>
          </p:cNvPr>
          <p:cNvGrpSpPr/>
          <p:nvPr/>
        </p:nvGrpSpPr>
        <p:grpSpPr>
          <a:xfrm>
            <a:off x="8630480" y="0"/>
            <a:ext cx="3561521" cy="6858000"/>
            <a:chOff x="8630480" y="0"/>
            <a:chExt cx="3561521" cy="6858000"/>
          </a:xfrm>
        </p:grpSpPr>
        <p:pic>
          <p:nvPicPr>
            <p:cNvPr id="25" name="Picture 24" descr="Chess pieces">
              <a:extLst>
                <a:ext uri="{FF2B5EF4-FFF2-40B4-BE49-F238E27FC236}">
                  <a16:creationId xmlns:a16="http://schemas.microsoft.com/office/drawing/2014/main" id="{40279A33-A9FF-1BB5-EF4C-AF9A86BEA1B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colorTemperature colorTemp="59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6034" t="1" r="1" b="2169"/>
            <a:stretch>
              <a:fillRect/>
            </a:stretch>
          </p:blipFill>
          <p:spPr>
            <a:xfrm>
              <a:off x="8630480" y="0"/>
              <a:ext cx="3561520" cy="6858000"/>
            </a:xfrm>
            <a:prstGeom prst="rect">
              <a:avLst/>
            </a:prstGeom>
          </p:spPr>
        </p:pic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5F7A8477-BE78-4C64-35B9-CA8AFE6B2F02}"/>
                </a:ext>
              </a:extLst>
            </p:cNvPr>
            <p:cNvSpPr/>
            <p:nvPr/>
          </p:nvSpPr>
          <p:spPr>
            <a:xfrm>
              <a:off x="8630481" y="0"/>
              <a:ext cx="3561520" cy="6858000"/>
            </a:xfrm>
            <a:prstGeom prst="rect">
              <a:avLst/>
            </a:prstGeom>
            <a:solidFill>
              <a:srgbClr val="303237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en-US" sz="1600" b="1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10F037EC-1F3B-00EA-ED51-C78BAF616613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FBAD4860-CF6F-5B6A-D6C6-03CFDD3CD3B2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A104</a:t>
            </a:r>
            <a:endParaRPr lang="en-US" sz="1100" dirty="0">
              <a:solidFill>
                <a:schemeClr val="accent3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FFDD111-A10B-82F2-3E4D-9EA448383CFB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i="1" dirty="0">
                <a:latin typeface="Aptos" panose="020B0004020202020204" pitchFamily="34" charset="0"/>
              </a:rPr>
              <a:t>B. Environnement concurrentiel</a:t>
            </a:r>
            <a:endParaRPr lang="fr-FR" sz="2800" b="1" dirty="0">
              <a:latin typeface="Aptos Black" panose="020B00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B3B585E-7D9E-25A0-72AC-9D9988AED24D}"/>
              </a:ext>
            </a:extLst>
          </p:cNvPr>
          <p:cNvSpPr txBox="1"/>
          <p:nvPr/>
        </p:nvSpPr>
        <p:spPr>
          <a:xfrm>
            <a:off x="898070" y="492774"/>
            <a:ext cx="7597539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Comment a évolué le positionnement et la distribution des concurrents de Bombay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68EEA32-9D70-4835-4BCA-206E1161FC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EF78A9-82AA-4C6F-AD45-43DF650E2802}" type="slidenum">
              <a:rPr lang="fr-FR" smtClean="0">
                <a:solidFill>
                  <a:schemeClr val="bg1"/>
                </a:solidFill>
              </a:rPr>
              <a:t>15</a:t>
            </a:fld>
            <a:endParaRPr lang="fr-FR" dirty="0">
              <a:solidFill>
                <a:schemeClr val="bg1"/>
              </a:solidFill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B77AAEFA-1E39-D608-1FA7-F3BABB5EC99D}"/>
              </a:ext>
            </a:extLst>
          </p:cNvPr>
          <p:cNvGrpSpPr/>
          <p:nvPr/>
        </p:nvGrpSpPr>
        <p:grpSpPr>
          <a:xfrm>
            <a:off x="898070" y="1563201"/>
            <a:ext cx="6418981" cy="534498"/>
            <a:chOff x="898071" y="1563201"/>
            <a:chExt cx="5478796" cy="534498"/>
          </a:xfrm>
        </p:grpSpPr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DAFA32E1-5A1D-15BF-586D-048E435DD146}"/>
                </a:ext>
              </a:extLst>
            </p:cNvPr>
            <p:cNvSpPr txBox="1"/>
            <p:nvPr/>
          </p:nvSpPr>
          <p:spPr>
            <a:xfrm>
              <a:off x="898071" y="1563201"/>
              <a:ext cx="5478796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Distribution numérique des marques du groupe BACARDI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13EE9EBF-B3AF-3E3D-05A8-861739EFD57E}"/>
                </a:ext>
              </a:extLst>
            </p:cNvPr>
            <p:cNvSpPr txBox="1"/>
            <p:nvPr/>
          </p:nvSpPr>
          <p:spPr>
            <a:xfrm>
              <a:off x="898071" y="1787741"/>
              <a:ext cx="5478796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Situation au 22 sept 2025 chez Leclerc et évolution depuis 23 juin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E48CF7EB-A204-8EE1-2177-18BBA5798D0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7311033"/>
              </p:ext>
            </p:extLst>
          </p:nvPr>
        </p:nvGraphicFramePr>
        <p:xfrm>
          <a:off x="8791575" y="4851853"/>
          <a:ext cx="3312000" cy="1546560"/>
        </p:xfrm>
        <a:graphic>
          <a:graphicData uri="http://schemas.openxmlformats.org/drawingml/2006/table">
            <a:tbl>
              <a:tblPr/>
              <a:tblGrid>
                <a:gridCol w="288000">
                  <a:extLst>
                    <a:ext uri="{9D8B030D-6E8A-4147-A177-3AD203B41FA5}">
                      <a16:colId xmlns:a16="http://schemas.microsoft.com/office/drawing/2014/main" val="3112293948"/>
                    </a:ext>
                  </a:extLst>
                </a:gridCol>
                <a:gridCol w="249251">
                  <a:extLst>
                    <a:ext uri="{9D8B030D-6E8A-4147-A177-3AD203B41FA5}">
                      <a16:colId xmlns:a16="http://schemas.microsoft.com/office/drawing/2014/main" val="2923283188"/>
                    </a:ext>
                  </a:extLst>
                </a:gridCol>
                <a:gridCol w="1118749">
                  <a:extLst>
                    <a:ext uri="{9D8B030D-6E8A-4147-A177-3AD203B41FA5}">
                      <a16:colId xmlns:a16="http://schemas.microsoft.com/office/drawing/2014/main" val="3846602647"/>
                    </a:ext>
                  </a:extLst>
                </a:gridCol>
                <a:gridCol w="288000">
                  <a:extLst>
                    <a:ext uri="{9D8B030D-6E8A-4147-A177-3AD203B41FA5}">
                      <a16:colId xmlns:a16="http://schemas.microsoft.com/office/drawing/2014/main" val="2693546014"/>
                    </a:ext>
                  </a:extLst>
                </a:gridCol>
                <a:gridCol w="288000">
                  <a:extLst>
                    <a:ext uri="{9D8B030D-6E8A-4147-A177-3AD203B41FA5}">
                      <a16:colId xmlns:a16="http://schemas.microsoft.com/office/drawing/2014/main" val="1307893622"/>
                    </a:ext>
                  </a:extLst>
                </a:gridCol>
                <a:gridCol w="1080000">
                  <a:extLst>
                    <a:ext uri="{9D8B030D-6E8A-4147-A177-3AD203B41FA5}">
                      <a16:colId xmlns:a16="http://schemas.microsoft.com/office/drawing/2014/main" val="115444113"/>
                    </a:ext>
                  </a:extLst>
                </a:gridCol>
              </a:tblGrid>
              <a:tr h="309312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accent4"/>
                        </a:solidFill>
                        <a:effectLst/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bg1"/>
                          </a:solidFill>
                          <a:effectLst/>
                          <a:latin typeface="Aptos Black" panose="020B0004020202020204" pitchFamily="34" charset="0"/>
                        </a:rPr>
                        <a:t>01</a:t>
                      </a:r>
                      <a:endParaRPr lang="fr-FR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Gvine</a:t>
                      </a:r>
                      <a:endParaRPr lang="fr-FR" sz="1200" b="0" i="0" u="none" strike="noStrike" dirty="0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accent4"/>
                        </a:solidFill>
                        <a:effectLst/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bg1"/>
                          </a:solidFill>
                          <a:effectLst/>
                          <a:latin typeface="Aptos Black" panose="020B0004020202020204" pitchFamily="34" charset="0"/>
                        </a:rPr>
                        <a:t>06</a:t>
                      </a:r>
                      <a:endParaRPr lang="fr-FR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Tanqueray</a:t>
                      </a:r>
                      <a:endParaRPr lang="fr-FR" sz="1200" b="0" i="0" u="none" strike="noStrike" dirty="0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09659776"/>
                  </a:ext>
                </a:extLst>
              </a:tr>
              <a:tr h="309312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>
                        <a:solidFill>
                          <a:schemeClr val="accent4"/>
                        </a:solidFill>
                        <a:effectLst/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bg1"/>
                          </a:solidFill>
                          <a:effectLst/>
                          <a:latin typeface="Aptos Black" panose="020B0004020202020204" pitchFamily="34" charset="0"/>
                        </a:rPr>
                        <a:t>02</a:t>
                      </a:r>
                      <a:endParaRPr lang="fr-FR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Bulldog</a:t>
                      </a:r>
                      <a:endParaRPr lang="fr-FR" sz="1200" b="0" i="0" u="none" strike="noStrike" dirty="0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accent4"/>
                          </a:solidFill>
                          <a:effectLst/>
                          <a:latin typeface="Lato" panose="020F0502020204030203" pitchFamily="34" charset="0"/>
                        </a:rPr>
                        <a:t>##</a:t>
                      </a:r>
                      <a:endParaRPr lang="fr-FR" sz="1200" b="0" i="0" u="none" strike="noStrike" dirty="0">
                        <a:solidFill>
                          <a:schemeClr val="accent4"/>
                        </a:solidFill>
                        <a:effectLst/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bg1"/>
                          </a:solidFill>
                          <a:effectLst/>
                          <a:latin typeface="Aptos Black" panose="020B0004020202020204" pitchFamily="34" charset="0"/>
                        </a:rPr>
                        <a:t>07</a:t>
                      </a:r>
                      <a:endParaRPr lang="fr-FR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#REF!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42623819"/>
                  </a:ext>
                </a:extLst>
              </a:tr>
              <a:tr h="309312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accent4"/>
                        </a:solidFill>
                        <a:effectLst/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bg1"/>
                          </a:solidFill>
                          <a:effectLst/>
                          <a:latin typeface="Aptos Black" panose="020B0004020202020204" pitchFamily="34" charset="0"/>
                        </a:rPr>
                        <a:t>03</a:t>
                      </a:r>
                      <a:endParaRPr lang="fr-FR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Sakura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accent4"/>
                          </a:solidFill>
                          <a:effectLst/>
                          <a:latin typeface="Lato" panose="020F0502020204030203" pitchFamily="34" charset="0"/>
                        </a:rPr>
                        <a:t>##</a:t>
                      </a:r>
                      <a:endParaRPr lang="fr-FR" sz="1200" b="0" i="0" u="none" strike="noStrike" dirty="0">
                        <a:solidFill>
                          <a:schemeClr val="accent4"/>
                        </a:solidFill>
                        <a:effectLst/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bg1"/>
                          </a:solidFill>
                          <a:effectLst/>
                          <a:latin typeface="Aptos Black" panose="020B0004020202020204" pitchFamily="34" charset="0"/>
                        </a:rPr>
                        <a:t>08</a:t>
                      </a:r>
                      <a:endParaRPr lang="fr-FR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#REF!</a:t>
                      </a:r>
                      <a:endParaRPr lang="fr-FR" sz="1200" b="0" i="0" u="none" strike="noStrike" dirty="0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82517298"/>
                  </a:ext>
                </a:extLst>
              </a:tr>
              <a:tr h="309312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accent4"/>
                        </a:solidFill>
                        <a:effectLst/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bg1"/>
                          </a:solidFill>
                          <a:effectLst/>
                          <a:latin typeface="Aptos Black" panose="020B0004020202020204" pitchFamily="34" charset="0"/>
                        </a:rPr>
                        <a:t>04</a:t>
                      </a:r>
                      <a:endParaRPr lang="fr-FR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Xii</a:t>
                      </a:r>
                      <a:endParaRPr lang="fr-FR" sz="1200" b="0" i="0" u="none" strike="noStrike" dirty="0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accent4"/>
                          </a:solidFill>
                          <a:effectLst/>
                          <a:latin typeface="Lato" panose="020F0502020204030203" pitchFamily="34" charset="0"/>
                        </a:rPr>
                        <a:t>##</a:t>
                      </a:r>
                      <a:endParaRPr lang="fr-FR" sz="1200" b="0" i="0" u="none" strike="noStrike" dirty="0">
                        <a:solidFill>
                          <a:schemeClr val="accent4"/>
                        </a:solidFill>
                        <a:effectLst/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bg1"/>
                          </a:solidFill>
                          <a:effectLst/>
                          <a:latin typeface="Aptos Black" panose="020B0004020202020204" pitchFamily="34" charset="0"/>
                        </a:rPr>
                        <a:t>09</a:t>
                      </a:r>
                      <a:endParaRPr lang="fr-FR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#REF!</a:t>
                      </a:r>
                      <a:endParaRPr lang="fr-FR" sz="1200" b="0" i="0" u="none" strike="noStrike" dirty="0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34375144"/>
                  </a:ext>
                </a:extLst>
              </a:tr>
              <a:tr h="309312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accent4"/>
                          </a:solidFill>
                          <a:effectLst/>
                          <a:latin typeface="Lato" panose="020F0502020204030203" pitchFamily="34" charset="0"/>
                        </a:rPr>
                        <a:t>➤</a:t>
                      </a:r>
                      <a:endParaRPr lang="fr-FR" sz="1200" b="0" i="0" u="none" strike="noStrike" dirty="0">
                        <a:solidFill>
                          <a:schemeClr val="accent4"/>
                        </a:solidFill>
                        <a:effectLst/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bg1"/>
                          </a:solidFill>
                          <a:effectLst/>
                          <a:latin typeface="Aptos Black" panose="020B0004020202020204" pitchFamily="34" charset="0"/>
                        </a:rPr>
                        <a:t>05</a:t>
                      </a:r>
                      <a:endParaRPr lang="fr-FR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Bombay</a:t>
                      </a:r>
                      <a:endParaRPr lang="fr-FR" sz="1200" b="0" i="0" u="none" strike="noStrike" dirty="0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accent4"/>
                          </a:solidFill>
                          <a:effectLst/>
                          <a:latin typeface="Lato" panose="020F0502020204030203" pitchFamily="34" charset="0"/>
                        </a:rPr>
                        <a:t>##</a:t>
                      </a:r>
                      <a:endParaRPr lang="fr-FR" sz="1200" b="0" i="0" u="none" strike="noStrike" dirty="0">
                        <a:solidFill>
                          <a:schemeClr val="accent4"/>
                        </a:solidFill>
                        <a:effectLst/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bg1"/>
                          </a:solidFill>
                          <a:effectLst/>
                          <a:latin typeface="Aptos Black" panose="020B0004020202020204" pitchFamily="34" charset="0"/>
                        </a:rPr>
                        <a:t>10</a:t>
                      </a:r>
                      <a:endParaRPr lang="fr-FR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#REF!</a:t>
                      </a:r>
                      <a:endParaRPr lang="fr-FR" sz="1200" b="0" i="0" u="none" strike="noStrike" dirty="0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64172842"/>
                  </a:ext>
                </a:extLst>
              </a:tr>
            </a:tbl>
          </a:graphicData>
        </a:graphic>
      </p:graphicFrame>
      <p:sp>
        <p:nvSpPr>
          <p:cNvPr id="23" name="TextBox 22">
            <a:extLst>
              <a:ext uri="{FF2B5EF4-FFF2-40B4-BE49-F238E27FC236}">
                <a16:creationId xmlns:a16="http://schemas.microsoft.com/office/drawing/2014/main" id="{116E61DA-C454-2E7E-5D0A-A48FC901FA3C}"/>
              </a:ext>
            </a:extLst>
          </p:cNvPr>
          <p:cNvSpPr txBox="1"/>
          <p:nvPr/>
        </p:nvSpPr>
        <p:spPr>
          <a:xfrm>
            <a:off x="9086850" y="4492551"/>
            <a:ext cx="2886076" cy="309958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i="1" dirty="0">
                <a:solidFill>
                  <a:schemeClr val="bg1"/>
                </a:solidFill>
                <a:latin typeface="Aptos" panose="020B0004020202020204" pitchFamily="34" charset="0"/>
              </a:rPr>
              <a:t>Légende</a:t>
            </a:r>
          </a:p>
        </p:txBody>
      </p:sp>
      <p:pic>
        <p:nvPicPr>
          <p:cNvPr id="28" name="Picture 27" descr="A black and white logo&#10;&#10;AI-generated content may be incorrect.">
            <a:extLst>
              <a:ext uri="{FF2B5EF4-FFF2-40B4-BE49-F238E27FC236}">
                <a16:creationId xmlns:a16="http://schemas.microsoft.com/office/drawing/2014/main" id="{CD0C1694-54CC-E9F2-B0F0-DE2BEC41EFE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6582" y="90715"/>
            <a:ext cx="1475418" cy="39683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82CF069-4E3F-EB24-03B2-F578CDFC830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98070" y="2167189"/>
            <a:ext cx="7059878" cy="4137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742594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C0D922-2584-D667-26B5-26421766F8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Rectangle 55">
            <a:extLst>
              <a:ext uri="{FF2B5EF4-FFF2-40B4-BE49-F238E27FC236}">
                <a16:creationId xmlns:a16="http://schemas.microsoft.com/office/drawing/2014/main" id="{48146870-FF14-FF50-D60D-183E193BF826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A35EC3B-3434-7020-AC07-691238BF5AFF}"/>
              </a:ext>
            </a:extLst>
          </p:cNvPr>
          <p:cNvSpPr/>
          <p:nvPr/>
        </p:nvSpPr>
        <p:spPr>
          <a:xfrm>
            <a:off x="532930" y="1403928"/>
            <a:ext cx="5036227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12FF4386-FE9D-3DC6-073C-7D974DEA274D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04538D14-7713-21DF-D7F8-F7204209FC32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A103</a:t>
            </a:r>
            <a:endParaRPr lang="en-US" sz="1100" dirty="0">
              <a:solidFill>
                <a:schemeClr val="accent3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161BE2A-D4CA-05AB-9BFA-83E2B2A8FC6E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i="1" dirty="0">
                <a:latin typeface="Aptos" panose="020B0004020202020204" pitchFamily="34" charset="0"/>
              </a:rPr>
              <a:t>B. Environnement concurrentiel</a:t>
            </a:r>
            <a:endParaRPr lang="fr-FR" sz="2800" b="1" dirty="0">
              <a:latin typeface="Aptos Black" panose="020B00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8BE2C59-8989-5057-7BE3-2ECB32324810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s sont les territoires prix les plus occupés sur la catégorie Gin et comment se positionne Bombay sur son propre territoire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E0277AF-64F7-CACF-6F84-6ABA69DA6B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EF78A9-82AA-4C6F-AD45-43DF650E2802}" type="slidenum">
              <a:rPr lang="fr-FR" smtClean="0"/>
              <a:t>16</a:t>
            </a:fld>
            <a:endParaRPr lang="fr-FR"/>
          </a:p>
        </p:txBody>
      </p:sp>
      <p:pic>
        <p:nvPicPr>
          <p:cNvPr id="12" name="Picture 11" descr="A black background with grey letters&#10;&#10;AI-generated content may be incorrect.">
            <a:extLst>
              <a:ext uri="{FF2B5EF4-FFF2-40B4-BE49-F238E27FC236}">
                <a16:creationId xmlns:a16="http://schemas.microsoft.com/office/drawing/2014/main" id="{B9CCB9E2-E47B-09A4-32E1-A1D13095E78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6582" y="90715"/>
            <a:ext cx="1475418" cy="398680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93A19D51-D277-82EA-7C20-DF96154CDB0B}"/>
              </a:ext>
            </a:extLst>
          </p:cNvPr>
          <p:cNvGrpSpPr/>
          <p:nvPr/>
        </p:nvGrpSpPr>
        <p:grpSpPr>
          <a:xfrm>
            <a:off x="898070" y="1563201"/>
            <a:ext cx="4326467" cy="534498"/>
            <a:chOff x="1050129" y="1563201"/>
            <a:chExt cx="4326467" cy="534498"/>
          </a:xfrm>
        </p:grpSpPr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081F04D5-5343-2B15-2513-FFBF695FA4D1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Territoire prix des marques du groupe BACARDI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FE40493C-2E4F-B5B8-3CE0-6855E2A4CF6E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Prix P5, moyen, et P95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B5D601F7-B01C-D10E-D18F-8E2CAEC73443}"/>
              </a:ext>
            </a:extLst>
          </p:cNvPr>
          <p:cNvGrpSpPr/>
          <p:nvPr/>
        </p:nvGrpSpPr>
        <p:grpSpPr>
          <a:xfrm>
            <a:off x="5874425" y="1563201"/>
            <a:ext cx="5925689" cy="534498"/>
            <a:chOff x="1050129" y="1563201"/>
            <a:chExt cx="4326467" cy="534498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11D98909-7DEE-A870-395C-CBCABD9F5A72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Territoire prix détaillé de Bombay.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5B8DE500-4110-79EB-057C-8DDC96D26980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Distribution des occurrences prix par litre avant promo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8D57FFF8-40E1-A2DC-C115-E9FEB9012A81}"/>
              </a:ext>
            </a:extLst>
          </p:cNvPr>
          <p:cNvSpPr txBox="1"/>
          <p:nvPr/>
        </p:nvSpPr>
        <p:spPr>
          <a:xfrm>
            <a:off x="10716166" y="2565046"/>
            <a:ext cx="1019980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pPr algn="ctr"/>
            <a:r>
              <a:rPr lang="fr-FR" sz="1600" b="1">
                <a:solidFill>
                  <a:schemeClr val="tx2">
                    <a:lumMod val="60000"/>
                    <a:lumOff val="40000"/>
                  </a:schemeClr>
                </a:solidFill>
                <a:latin typeface="Aptos Black" panose="020B0004020202020204" pitchFamily="34" charset="0"/>
              </a:rPr>
              <a:t>85%</a:t>
            </a:r>
            <a:endParaRPr lang="fr-FR" sz="1600" b="1" dirty="0">
              <a:solidFill>
                <a:schemeClr val="tx2">
                  <a:lumMod val="60000"/>
                  <a:lumOff val="40000"/>
                </a:schemeClr>
              </a:solidFill>
              <a:latin typeface="Aptos Black" panose="020B0004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728CCA9-5DF0-134A-B078-F65336E00AC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93221" y="1991950"/>
            <a:ext cx="2204106" cy="418582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D566967-82D5-F401-A355-459B59C0F2A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08321" y="2069926"/>
            <a:ext cx="5990809" cy="415228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6E5B188-21FF-BCBE-D071-B458A882C6F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32931" y="2033517"/>
            <a:ext cx="4017943" cy="4081913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DB91E4BF-1BFF-6AF3-9855-3FB2C5434B9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585733" y="2071413"/>
            <a:ext cx="1281229" cy="132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084877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A51698-B250-C635-C793-BC69BC24F4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47C586E-7F92-D91F-37F2-8E6ACEEE5ABC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169EE90-D3FB-E4ED-6DC2-859B5D2066D6}"/>
              </a:ext>
            </a:extLst>
          </p:cNvPr>
          <p:cNvSpPr/>
          <p:nvPr/>
        </p:nvSpPr>
        <p:spPr>
          <a:xfrm>
            <a:off x="532930" y="1403928"/>
            <a:ext cx="6227979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4D5C0680-B775-666A-3D8A-5F67B7948F5C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0C04821-AEB8-192F-7D26-9C0B3F0B1D96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A105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0EF745E7-0C5E-D87A-CA28-7F2D78390940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i="1" dirty="0">
                <a:latin typeface="Aptos" panose="020B0004020202020204" pitchFamily="34" charset="0"/>
              </a:rPr>
              <a:t>B. Environnement concurrentiel</a:t>
            </a:r>
            <a:endParaRPr lang="fr-FR" sz="2800" b="1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FE846B85-73FC-D99F-01B9-5D3E095B238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24A8DE99-4C49-5557-1B9E-46BA9A202B20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i sont les principaux concurrents de Bombay sur son propre territoire prix et quelles sont les dynamiques concurrentielles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EA07BDC-8655-CE81-74E6-C9AACA07E7EF}"/>
              </a:ext>
            </a:extLst>
          </p:cNvPr>
          <p:cNvGrpSpPr/>
          <p:nvPr/>
        </p:nvGrpSpPr>
        <p:grpSpPr>
          <a:xfrm>
            <a:off x="7334217" y="1563201"/>
            <a:ext cx="4326467" cy="534498"/>
            <a:chOff x="1050129" y="1563201"/>
            <a:chExt cx="4326467" cy="534498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AFCE87CA-DAAC-60DE-223A-1BC07DE30EAE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Distribution numérique des principaux concurrents.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13622584-9A0A-0A0D-29E5-CA9059F27627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Évolution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32856C1-0392-430F-A7E5-3DACC12EB8CD}"/>
              </a:ext>
            </a:extLst>
          </p:cNvPr>
          <p:cNvGrpSpPr/>
          <p:nvPr/>
        </p:nvGrpSpPr>
        <p:grpSpPr>
          <a:xfrm>
            <a:off x="898070" y="1563201"/>
            <a:ext cx="5414885" cy="534498"/>
            <a:chOff x="1050129" y="1563201"/>
            <a:chExt cx="4326467" cy="534498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B5B9402C-5B36-AA5B-083B-4DE0A24BC535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Poids des marques sur le territoire de Bombay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CECFBFA8-500F-9329-5BD3-D564DF7ED309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Répartition des produits proposées entre 30,00 € et 37,00 €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F29FB626-60E7-91B6-8D14-133BEF3D50E4}"/>
              </a:ext>
            </a:extLst>
          </p:cNvPr>
          <p:cNvSpPr txBox="1"/>
          <p:nvPr/>
        </p:nvSpPr>
        <p:spPr>
          <a:xfrm>
            <a:off x="5156073" y="2104349"/>
            <a:ext cx="1128866" cy="463846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200" i="1" dirty="0">
                <a:latin typeface="Aptos" panose="020B0004020202020204" pitchFamily="34" charset="0"/>
              </a:rPr>
              <a:t>% références sur le territoire.</a:t>
            </a:r>
          </a:p>
        </p:txBody>
      </p:sp>
      <p:sp>
        <p:nvSpPr>
          <p:cNvPr id="2" name="Slide Number Placeholder 7">
            <a:extLst>
              <a:ext uri="{FF2B5EF4-FFF2-40B4-BE49-F238E27FC236}">
                <a16:creationId xmlns:a16="http://schemas.microsoft.com/office/drawing/2014/main" id="{CD2B39CE-8BF1-D702-455E-FCF8AC2906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17</a:t>
            </a:fld>
            <a:endParaRPr lang="fr-FR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8170E6B-68B8-5358-7767-CCEC3CECF74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2934" y="2393005"/>
            <a:ext cx="4317777" cy="3842425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6FBE2D7F-4D06-C684-D004-945A503016F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30897" y="2401433"/>
            <a:ext cx="1283078" cy="3833996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AA7B9ADE-1DE4-9208-4E0D-C1B86DA1C12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192170" y="2114077"/>
            <a:ext cx="4568621" cy="39851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82097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D1C54B-1903-DF8E-D94F-D1CEEF6D8D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45471E0-ADDD-A1D2-44D0-8B3C17F42F47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9" name="Picture 8" descr="A shelf full of liquor bottles&#10;&#10;AI-generated content may be incorrect.">
            <a:extLst>
              <a:ext uri="{FF2B5EF4-FFF2-40B4-BE49-F238E27FC236}">
                <a16:creationId xmlns:a16="http://schemas.microsoft.com/office/drawing/2014/main" id="{403A13BB-BEA0-4CD9-4B93-53FE96DC87E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333" t="13572" r="14514" b="2054"/>
          <a:stretch>
            <a:fillRect/>
          </a:stretch>
        </p:blipFill>
        <p:spPr>
          <a:xfrm>
            <a:off x="6777115" y="1403928"/>
            <a:ext cx="5414885" cy="4985388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6B84AA6A-30AB-CF46-9E0B-3B8EE4EBB082}"/>
              </a:ext>
            </a:extLst>
          </p:cNvPr>
          <p:cNvSpPr/>
          <p:nvPr/>
        </p:nvSpPr>
        <p:spPr>
          <a:xfrm>
            <a:off x="532929" y="1403928"/>
            <a:ext cx="624418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85CCE0C-1E8C-AE06-2F73-8FC1642E3CA2}"/>
              </a:ext>
            </a:extLst>
          </p:cNvPr>
          <p:cNvSpPr/>
          <p:nvPr/>
        </p:nvSpPr>
        <p:spPr>
          <a:xfrm>
            <a:off x="6777116" y="1403928"/>
            <a:ext cx="5414885" cy="4985388"/>
          </a:xfrm>
          <a:prstGeom prst="rect">
            <a:avLst/>
          </a:prstGeom>
          <a:solidFill>
            <a:schemeClr val="tx1">
              <a:lumMod val="90000"/>
              <a:lumOff val="10000"/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400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22BE3163-EBC2-9267-573C-A5818115980D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BBD0AED-4653-AA92-F1EA-F8DB32FAC797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A106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9553722E-6781-B14D-BCC7-BF6411DA8AC1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i="1" dirty="0">
                <a:latin typeface="Aptos" panose="020B0004020202020204" pitchFamily="34" charset="0"/>
              </a:rPr>
              <a:t>B. Environnement concurrentiel</a:t>
            </a:r>
            <a:endParaRPr lang="fr-FR" sz="2800" b="1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41BB69AA-0420-0BD1-70CC-2CA8549172F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A3F6891C-D586-D8B0-3B74-120EE4522512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s sont les enjeux stratégiques du concurrent direct « TANQUERAY » chez Leclerc au cours des 3 derniers mois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CD5BF3A-0761-9758-6EFC-8FAFEEF107A9}"/>
              </a:ext>
            </a:extLst>
          </p:cNvPr>
          <p:cNvSpPr txBox="1"/>
          <p:nvPr/>
        </p:nvSpPr>
        <p:spPr>
          <a:xfrm>
            <a:off x="7131548" y="1563201"/>
            <a:ext cx="4326467" cy="525401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>
                <a:solidFill>
                  <a:schemeClr val="bg1"/>
                </a:solidFill>
                <a:latin typeface="Aptos" panose="020B0004020202020204" pitchFamily="34" charset="0"/>
              </a:rPr>
              <a:t>Récapitulatif de la performance de TANQUERAY</a:t>
            </a:r>
          </a:p>
          <a:p>
            <a:endParaRPr lang="fr-FR" sz="1400" dirty="0">
              <a:latin typeface="Aptos" panose="020B00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DD53DF2-9BE1-7151-9E66-12765147ACAA}"/>
              </a:ext>
            </a:extLst>
          </p:cNvPr>
          <p:cNvSpPr txBox="1"/>
          <p:nvPr/>
        </p:nvSpPr>
        <p:spPr>
          <a:xfrm>
            <a:off x="898070" y="1563201"/>
            <a:ext cx="5414885" cy="525401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>
                <a:latin typeface="Aptos" panose="020B0004020202020204" pitchFamily="34" charset="0"/>
              </a:rPr>
              <a:t>Évolution de la DN et du prix moyen de TANQUERAY</a:t>
            </a:r>
          </a:p>
          <a:p>
            <a:endParaRPr lang="fr-FR" sz="1400" dirty="0">
              <a:latin typeface="Aptos" panose="020B0004020202020204" pitchFamily="34" charset="0"/>
            </a:endParaRPr>
          </a:p>
        </p:txBody>
      </p:sp>
      <p:graphicFrame>
        <p:nvGraphicFramePr>
          <p:cNvPr id="19" name="Table 18">
            <a:extLst>
              <a:ext uri="{FF2B5EF4-FFF2-40B4-BE49-F238E27FC236}">
                <a16:creationId xmlns:a16="http://schemas.microsoft.com/office/drawing/2014/main" id="{6455D39A-FF07-CC38-A720-A88428FA73B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55980436"/>
              </p:ext>
            </p:extLst>
          </p:nvPr>
        </p:nvGraphicFramePr>
        <p:xfrm>
          <a:off x="7131548" y="2088602"/>
          <a:ext cx="4706020" cy="4027989"/>
        </p:xfrm>
        <a:graphic>
          <a:graphicData uri="http://schemas.openxmlformats.org/drawingml/2006/table">
            <a:tbl>
              <a:tblPr/>
              <a:tblGrid>
                <a:gridCol w="1832460">
                  <a:extLst>
                    <a:ext uri="{9D8B030D-6E8A-4147-A177-3AD203B41FA5}">
                      <a16:colId xmlns:a16="http://schemas.microsoft.com/office/drawing/2014/main" val="4095947439"/>
                    </a:ext>
                  </a:extLst>
                </a:gridCol>
                <a:gridCol w="747943">
                  <a:extLst>
                    <a:ext uri="{9D8B030D-6E8A-4147-A177-3AD203B41FA5}">
                      <a16:colId xmlns:a16="http://schemas.microsoft.com/office/drawing/2014/main" val="1502884613"/>
                    </a:ext>
                  </a:extLst>
                </a:gridCol>
                <a:gridCol w="747943">
                  <a:extLst>
                    <a:ext uri="{9D8B030D-6E8A-4147-A177-3AD203B41FA5}">
                      <a16:colId xmlns:a16="http://schemas.microsoft.com/office/drawing/2014/main" val="1380772683"/>
                    </a:ext>
                  </a:extLst>
                </a:gridCol>
                <a:gridCol w="1377674">
                  <a:extLst>
                    <a:ext uri="{9D8B030D-6E8A-4147-A177-3AD203B41FA5}">
                      <a16:colId xmlns:a16="http://schemas.microsoft.com/office/drawing/2014/main" val="3822924323"/>
                    </a:ext>
                  </a:extLst>
                </a:gridCol>
              </a:tblGrid>
              <a:tr h="271722"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Valeur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Rang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Interprétation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28536269"/>
                  </a:ext>
                </a:extLst>
              </a:tr>
              <a:tr h="417363">
                <a:tc>
                  <a:txBody>
                    <a:bodyPr/>
                    <a:lstStyle/>
                    <a:p>
                      <a:pPr algn="r" rtl="0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Distribution numérique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3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32,3%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3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6/23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3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Outsider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3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6350352"/>
                  </a:ext>
                </a:extLst>
              </a:tr>
              <a:tr h="417363">
                <a:tc>
                  <a:txBody>
                    <a:bodyPr/>
                    <a:lstStyle/>
                    <a:p>
                      <a:pPr algn="r" rtl="0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Évolution de la distribution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+1,7pp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3/23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Légère progression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1288111"/>
                  </a:ext>
                </a:extLst>
              </a:tr>
              <a:tr h="417363">
                <a:tc>
                  <a:txBody>
                    <a:bodyPr/>
                    <a:lstStyle/>
                    <a:p>
                      <a:pPr algn="r" rtl="0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Positionnement prix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28,5 €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18/2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Entrée de gamme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F6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8581061"/>
                  </a:ext>
                </a:extLst>
              </a:tr>
              <a:tr h="417363">
                <a:tc>
                  <a:txBody>
                    <a:bodyPr/>
                    <a:lstStyle/>
                    <a:p>
                      <a:pPr algn="r" rtl="0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Évolution prix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+1,0%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4/2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Hausse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6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875392"/>
                  </a:ext>
                </a:extLst>
              </a:tr>
              <a:tr h="417363">
                <a:tc>
                  <a:txBody>
                    <a:bodyPr/>
                    <a:lstStyle/>
                    <a:p>
                      <a:pPr algn="r" rtl="0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Produits par magasin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1,11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7/23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Moins de 2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C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6889486"/>
                  </a:ext>
                </a:extLst>
              </a:tr>
              <a:tr h="417363">
                <a:tc>
                  <a:txBody>
                    <a:bodyPr/>
                    <a:lstStyle/>
                    <a:p>
                      <a:pPr algn="r" rtl="0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Évolution produits / mag.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+4%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2/23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Diversification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C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369166"/>
                  </a:ext>
                </a:extLst>
              </a:tr>
              <a:tr h="417363">
                <a:tc>
                  <a:txBody>
                    <a:bodyPr/>
                    <a:lstStyle/>
                    <a:p>
                      <a:pPr algn="r" rtl="0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Mise en avant du best seller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Faible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8/23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Faible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C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5094954"/>
                  </a:ext>
                </a:extLst>
              </a:tr>
              <a:tr h="417363">
                <a:tc>
                  <a:txBody>
                    <a:bodyPr/>
                    <a:lstStyle/>
                    <a:p>
                      <a:pPr algn="r" rtl="0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Fréquence promotionnelle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3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4,4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3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3/8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3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Faible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3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8737617"/>
                  </a:ext>
                </a:extLst>
              </a:tr>
              <a:tr h="417363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Magasins en promotion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-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-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-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7017697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2E54123F-E639-5590-A664-2EBE3B9EE7F7}"/>
              </a:ext>
            </a:extLst>
          </p:cNvPr>
          <p:cNvSpPr txBox="1"/>
          <p:nvPr/>
        </p:nvSpPr>
        <p:spPr>
          <a:xfrm>
            <a:off x="898070" y="3757033"/>
            <a:ext cx="5414885" cy="309958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>
                <a:latin typeface="Aptos" panose="020B0004020202020204" pitchFamily="34" charset="0"/>
              </a:rPr>
              <a:t>Territoire prix de TANQUERAY</a:t>
            </a:r>
            <a:endParaRPr lang="fr-FR" sz="1400" dirty="0">
              <a:latin typeface="Aptos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37EA9FE1-FA6D-C1F5-5B7A-FAA0AD1DD5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18</a:t>
            </a:fld>
            <a:endParaRPr lang="fr-FR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F75F714-EAA8-D23D-9BD1-31D75452B8C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98069" y="4113747"/>
            <a:ext cx="5606734" cy="2137929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3946F28-B111-AD22-C46B-665E0626E6C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98071" y="1963888"/>
            <a:ext cx="5601631" cy="1866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771818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3D4D5120-FDD3-1848-2FC6-CA31E79413DE}"/>
              </a:ext>
            </a:extLst>
          </p:cNvPr>
          <p:cNvSpPr/>
          <p:nvPr/>
        </p:nvSpPr>
        <p:spPr>
          <a:xfrm>
            <a:off x="0" y="1"/>
            <a:ext cx="12192000" cy="2744156"/>
          </a:xfrm>
          <a:prstGeom prst="rect">
            <a:avLst/>
          </a:prstGeom>
          <a:blipFill>
            <a:blip r:embed="rId5"/>
            <a:stretch>
              <a:fillRect t="-48594" b="-58741"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2A97160F-2E8F-8025-B42D-BE72F17B2E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3" imgH="474" progId="TCLayout.ActiveDocument.1">
                  <p:embed/>
                </p:oleObj>
              </mc:Choice>
              <mc:Fallback>
                <p:oleObj name="think-cell Slide" r:id="rId6" imgW="473" imgH="474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A97160F-2E8F-8025-B42D-BE72F17B2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846EBC02-DDE4-3D6D-254A-19179D73ECB5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957509" y="3839721"/>
            <a:ext cx="996456" cy="4079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fr-FR" b="1">
                <a:solidFill>
                  <a:schemeClr val="accent4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94%</a:t>
            </a:r>
            <a:endParaRPr lang="fr-FR" b="1" noProof="0" dirty="0">
              <a:solidFill>
                <a:schemeClr val="accent4"/>
              </a:solidFill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C15F81FF-73C4-2471-D625-7733FE1EB9D7}"/>
              </a:ext>
            </a:extLst>
          </p:cNvPr>
          <p:cNvSpPr/>
          <p:nvPr/>
        </p:nvSpPr>
        <p:spPr>
          <a:xfrm>
            <a:off x="701675" y="5035138"/>
            <a:ext cx="1810809" cy="12793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fr-FR" sz="1400" noProof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Distribution numérique et évolution entre 23 juin 2025 et 22 sept 2025 chez Leclerc.</a:t>
            </a:r>
            <a:endParaRPr lang="fr-FR" sz="1400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72F6A6F-3D98-7875-9607-D854821D3D23}"/>
              </a:ext>
            </a:extLst>
          </p:cNvPr>
          <p:cNvSpPr/>
          <p:nvPr/>
        </p:nvSpPr>
        <p:spPr>
          <a:xfrm>
            <a:off x="2967355" y="2991519"/>
            <a:ext cx="4799699" cy="3663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fr-FR" sz="1400" b="1" noProof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Distribution numérique par produit Bombay</a:t>
            </a:r>
          </a:p>
          <a:p>
            <a:pPr algn="l"/>
            <a:r>
              <a:rPr lang="fr-FR" sz="1400" b="1" noProof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hez Leclerc au 22 sept 2025</a:t>
            </a:r>
            <a:endParaRPr lang="fr-FR" sz="1400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868ACA-C290-BE84-B959-12995FA55991}"/>
              </a:ext>
            </a:extLst>
          </p:cNvPr>
          <p:cNvSpPr/>
          <p:nvPr/>
        </p:nvSpPr>
        <p:spPr>
          <a:xfrm>
            <a:off x="0" y="0"/>
            <a:ext cx="12192000" cy="2744156"/>
          </a:xfrm>
          <a:prstGeom prst="rect">
            <a:avLst/>
          </a:prstGeom>
          <a:solidFill>
            <a:srgbClr val="303237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8F44A59-321B-8C1F-AB50-1DEE3E9EDFB5}"/>
              </a:ext>
            </a:extLst>
          </p:cNvPr>
          <p:cNvSpPr/>
          <p:nvPr/>
        </p:nvSpPr>
        <p:spPr>
          <a:xfrm>
            <a:off x="8153400" y="804333"/>
            <a:ext cx="3614107" cy="5689600"/>
          </a:xfrm>
          <a:prstGeom prst="rect">
            <a:avLst/>
          </a:prstGeom>
          <a:solidFill>
            <a:srgbClr val="303237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FB8FE893-89A6-9350-E8F4-4503A0487AB1}"/>
              </a:ext>
            </a:extLst>
          </p:cNvPr>
          <p:cNvGrpSpPr/>
          <p:nvPr/>
        </p:nvGrpSpPr>
        <p:grpSpPr>
          <a:xfrm>
            <a:off x="532932" y="246278"/>
            <a:ext cx="7530413" cy="710342"/>
            <a:chOff x="532932" y="246278"/>
            <a:chExt cx="7157805" cy="710342"/>
          </a:xfrm>
        </p:grpSpPr>
        <p:sp>
          <p:nvSpPr>
            <p:cNvPr id="2" name="Rectangle: Rounded Corners 1">
              <a:extLst>
                <a:ext uri="{FF2B5EF4-FFF2-40B4-BE49-F238E27FC236}">
                  <a16:creationId xmlns:a16="http://schemas.microsoft.com/office/drawing/2014/main" id="{CC867D82-4402-295B-0834-352EADEBD2A6}"/>
                </a:ext>
              </a:extLst>
            </p:cNvPr>
            <p:cNvSpPr/>
            <p:nvPr/>
          </p:nvSpPr>
          <p:spPr>
            <a:xfrm>
              <a:off x="532932" y="611296"/>
              <a:ext cx="226904" cy="226904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fr-FR" sz="1600" b="1" noProof="0" dirty="0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F930FA44-E48C-F85F-3EF4-E6EE595B1C8D}"/>
                </a:ext>
              </a:extLst>
            </p:cNvPr>
            <p:cNvSpPr txBox="1"/>
            <p:nvPr/>
          </p:nvSpPr>
          <p:spPr>
            <a:xfrm>
              <a:off x="898070" y="246278"/>
              <a:ext cx="4976355" cy="340735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600" noProof="0">
                  <a:solidFill>
                    <a:schemeClr val="bg1"/>
                  </a:solidFill>
                  <a:latin typeface="Aptos" panose="020B0004020202020204" pitchFamily="34" charset="0"/>
                </a:rPr>
                <a:t>C. Situation actuelle de Bombay</a:t>
              </a:r>
              <a:endParaRPr lang="fr-FR" sz="1600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9153C6F3-7CF9-7D17-7307-33CF797C4730}"/>
                </a:ext>
              </a:extLst>
            </p:cNvPr>
            <p:cNvSpPr txBox="1"/>
            <p:nvPr/>
          </p:nvSpPr>
          <p:spPr>
            <a:xfrm>
              <a:off x="898070" y="492774"/>
              <a:ext cx="6792667" cy="463846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2400" b="1" noProof="0" dirty="0">
                  <a:solidFill>
                    <a:schemeClr val="bg1"/>
                  </a:solidFill>
                  <a:latin typeface="Aptos Black" panose="020B0004020202020204" pitchFamily="34" charset="0"/>
                </a:rPr>
                <a:t>XXX</a:t>
              </a: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525FD683-5C51-071E-2B4F-A7D1E7BC4E32}"/>
              </a:ext>
            </a:extLst>
          </p:cNvPr>
          <p:cNvGrpSpPr/>
          <p:nvPr/>
        </p:nvGrpSpPr>
        <p:grpSpPr>
          <a:xfrm>
            <a:off x="8593666" y="5164307"/>
            <a:ext cx="2797655" cy="914400"/>
            <a:chOff x="8593666" y="5164307"/>
            <a:chExt cx="2896659" cy="914400"/>
          </a:xfrm>
        </p:grpSpPr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4AF380E5-9614-380B-897F-CE75FD724133}"/>
                </a:ext>
              </a:extLst>
            </p:cNvPr>
            <p:cNvSpPr/>
            <p:nvPr/>
          </p:nvSpPr>
          <p:spPr>
            <a:xfrm>
              <a:off x="8593666" y="5164307"/>
              <a:ext cx="1373293" cy="9144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fr-FR" sz="1600" b="1" noProof="0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3CFF5091-C50C-27F0-5508-4F7CBF6FAAF8}"/>
                </a:ext>
              </a:extLst>
            </p:cNvPr>
            <p:cNvSpPr/>
            <p:nvPr/>
          </p:nvSpPr>
          <p:spPr>
            <a:xfrm>
              <a:off x="10117032" y="5164307"/>
              <a:ext cx="1373293" cy="9144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fr-FR" sz="1600" b="1" noProof="0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pic>
        <p:nvPicPr>
          <p:cNvPr id="22" name="Graphic 21" descr="Beer with solid fill">
            <a:extLst>
              <a:ext uri="{FF2B5EF4-FFF2-40B4-BE49-F238E27FC236}">
                <a16:creationId xmlns:a16="http://schemas.microsoft.com/office/drawing/2014/main" id="{AC6F13D0-EB9D-3736-F826-F6CD2D4519D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119547" y="5265727"/>
            <a:ext cx="711560" cy="711560"/>
          </a:xfrm>
          <a:prstGeom prst="rect">
            <a:avLst/>
          </a:prstGeom>
        </p:spPr>
      </p:pic>
      <p:pic>
        <p:nvPicPr>
          <p:cNvPr id="24" name="Graphic 23" descr="Bottle with solid fill">
            <a:extLst>
              <a:ext uri="{FF2B5EF4-FFF2-40B4-BE49-F238E27FC236}">
                <a16:creationId xmlns:a16="http://schemas.microsoft.com/office/drawing/2014/main" id="{825C296B-5B74-52A1-24FC-4CD9539D7C3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545284" y="5265727"/>
            <a:ext cx="711560" cy="711560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D9338FB5-48D1-CCEB-0A95-C8600B9A01CA}"/>
              </a:ext>
            </a:extLst>
          </p:cNvPr>
          <p:cNvSpPr/>
          <p:nvPr/>
        </p:nvSpPr>
        <p:spPr>
          <a:xfrm>
            <a:off x="8686800" y="5669279"/>
            <a:ext cx="1172262" cy="3488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fr-FR" sz="1100" noProof="0" dirty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rix/L moyen avant promotion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A162D322-E966-84CE-7F36-05595CA1F700}"/>
              </a:ext>
            </a:extLst>
          </p:cNvPr>
          <p:cNvSpPr/>
          <p:nvPr/>
        </p:nvSpPr>
        <p:spPr>
          <a:xfrm>
            <a:off x="10158099" y="5669279"/>
            <a:ext cx="1172262" cy="3488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fr-FR" sz="1100" noProof="0" dirty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Fréquence promotionnelle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F08795D5-439A-E83E-D80A-1B67FD35466C}"/>
              </a:ext>
            </a:extLst>
          </p:cNvPr>
          <p:cNvSpPr/>
          <p:nvPr/>
        </p:nvSpPr>
        <p:spPr>
          <a:xfrm>
            <a:off x="8686800" y="5293090"/>
            <a:ext cx="1172262" cy="3488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2400">
                <a:solidFill>
                  <a:schemeClr val="accent3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33,38 €</a:t>
            </a:r>
            <a:endParaRPr lang="fr-FR" sz="2400" noProof="0" dirty="0">
              <a:solidFill>
                <a:schemeClr val="accent3"/>
              </a:solidFill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08E9A604-AFF5-C8EC-E410-3F6FA8A9EC52}"/>
              </a:ext>
            </a:extLst>
          </p:cNvPr>
          <p:cNvSpPr/>
          <p:nvPr/>
        </p:nvSpPr>
        <p:spPr>
          <a:xfrm>
            <a:off x="10158099" y="5293090"/>
            <a:ext cx="1172262" cy="3488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2400">
                <a:solidFill>
                  <a:schemeClr val="accent3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3%</a:t>
            </a:r>
            <a:endParaRPr lang="fr-FR" sz="2400" noProof="0" dirty="0">
              <a:solidFill>
                <a:schemeClr val="accent3"/>
              </a:solidFill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4B09004E-F6BC-4720-492B-D4F452A9B9AE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1096962" y="4119866"/>
            <a:ext cx="717550" cy="4079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fr-FR" sz="1800" b="1" i="1">
                <a:solidFill>
                  <a:srgbClr val="2FB3B0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-0,1pp</a:t>
            </a:r>
            <a:endParaRPr kumimoji="0" lang="fr-FR" sz="1800" b="1" i="1" u="none" strike="noStrike" kern="1200" cap="none" spc="0" normalizeH="0" baseline="0" noProof="0" dirty="0">
              <a:ln>
                <a:noFill/>
              </a:ln>
              <a:solidFill>
                <a:srgbClr val="2FB3B0"/>
              </a:solidFill>
              <a:effectLst/>
              <a:uLnTx/>
              <a:uFillTx/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8392954-6A3F-ADB3-12B7-A089B5741C35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X001 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497A799-A0FF-8E4B-B36D-6E6A50953ECF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881248" y="3538231"/>
            <a:ext cx="4846475" cy="299381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E21957B6-6B92-02CD-8E86-86A4015C3B8C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19125" y="3283763"/>
            <a:ext cx="1675523" cy="16740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FD4752BF-0497-9144-A944-6C6C117BF814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8317030" y="956622"/>
            <a:ext cx="3360297" cy="3925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35369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3B27A3-1DD6-B50D-6448-10F27CF862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Box 22">
            <a:extLst>
              <a:ext uri="{FF2B5EF4-FFF2-40B4-BE49-F238E27FC236}">
                <a16:creationId xmlns:a16="http://schemas.microsoft.com/office/drawing/2014/main" id="{7BBF1806-863B-EA30-11ED-4461CAB8B20A}"/>
              </a:ext>
            </a:extLst>
          </p:cNvPr>
          <p:cNvSpPr txBox="1"/>
          <p:nvPr/>
        </p:nvSpPr>
        <p:spPr>
          <a:xfrm>
            <a:off x="395242" y="246278"/>
            <a:ext cx="3716707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i="1" dirty="0">
                <a:latin typeface="Aptos" panose="020B0004020202020204" pitchFamily="34" charset="0"/>
              </a:rPr>
              <a:t>Périmètre de l’étude</a:t>
            </a:r>
            <a:endParaRPr lang="fr-FR" sz="2800" b="1" dirty="0">
              <a:latin typeface="Aptos Black" panose="020B0004020202020204" pitchFamily="34" charset="0"/>
            </a:endParaRP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D8C688AA-05A5-8B4C-969A-3DA664EFF849}"/>
              </a:ext>
            </a:extLst>
          </p:cNvPr>
          <p:cNvGrpSpPr/>
          <p:nvPr/>
        </p:nvGrpSpPr>
        <p:grpSpPr>
          <a:xfrm>
            <a:off x="394471" y="4802550"/>
            <a:ext cx="3479029" cy="1545205"/>
            <a:chOff x="394471" y="4968804"/>
            <a:chExt cx="3479029" cy="1545205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02E6CAD4-4B12-2CCF-90F8-BF99FAC1D16F}"/>
                </a:ext>
              </a:extLst>
            </p:cNvPr>
            <p:cNvSpPr/>
            <p:nvPr/>
          </p:nvSpPr>
          <p:spPr>
            <a:xfrm>
              <a:off x="395242" y="5344519"/>
              <a:ext cx="3478258" cy="116949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600" b="1" dirty="0">
                  <a:solidFill>
                    <a:schemeClr val="accent4"/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Informations collectées</a:t>
              </a:r>
            </a:p>
            <a:p>
              <a:r>
                <a:rPr lang="fr-FR" sz="1400" b="1" dirty="0">
                  <a:solidFill>
                    <a:schemeClr val="tx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Localisation</a:t>
              </a:r>
              <a:r>
                <a:rPr lang="fr-FR" sz="1400" dirty="0">
                  <a:solidFill>
                    <a:schemeClr val="tx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 du drive, liste des </a:t>
              </a:r>
              <a:r>
                <a:rPr lang="fr-FR" sz="1400" b="1" dirty="0">
                  <a:solidFill>
                    <a:schemeClr val="tx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produits proposés</a:t>
              </a:r>
              <a:r>
                <a:rPr lang="fr-FR" sz="1400" dirty="0">
                  <a:solidFill>
                    <a:schemeClr val="tx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, </a:t>
              </a:r>
              <a:r>
                <a:rPr lang="fr-FR" sz="1400" b="1" dirty="0">
                  <a:solidFill>
                    <a:schemeClr val="tx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prix</a:t>
              </a:r>
              <a:r>
                <a:rPr lang="fr-FR" sz="1400" dirty="0">
                  <a:solidFill>
                    <a:schemeClr val="tx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 au litre, </a:t>
              </a:r>
              <a:r>
                <a:rPr lang="fr-FR" sz="1400" b="1" dirty="0">
                  <a:solidFill>
                    <a:schemeClr val="tx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format</a:t>
              </a:r>
              <a:r>
                <a:rPr lang="fr-FR" sz="1400" dirty="0">
                  <a:solidFill>
                    <a:schemeClr val="tx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 (cl), </a:t>
              </a:r>
              <a:r>
                <a:rPr lang="fr-FR" sz="1400" b="1" dirty="0">
                  <a:solidFill>
                    <a:schemeClr val="tx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remise</a:t>
              </a:r>
              <a:r>
                <a:rPr lang="fr-FR" sz="1400" dirty="0">
                  <a:solidFill>
                    <a:schemeClr val="tx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 immédiate, etc.</a:t>
              </a:r>
            </a:p>
          </p:txBody>
        </p:sp>
        <p:pic>
          <p:nvPicPr>
            <p:cNvPr id="25" name="Graphic 24" descr="Minimise with solid fill">
              <a:extLst>
                <a:ext uri="{FF2B5EF4-FFF2-40B4-BE49-F238E27FC236}">
                  <a16:creationId xmlns:a16="http://schemas.microsoft.com/office/drawing/2014/main" id="{6BB6D5E1-F341-EBA8-D755-8C7EE0A88E3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94471" y="4968804"/>
              <a:ext cx="446754" cy="446754"/>
            </a:xfrm>
            <a:prstGeom prst="rect">
              <a:avLst/>
            </a:prstGeom>
          </p:spPr>
        </p:pic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8AD75354-E504-0701-E5B6-D674AA777BF7}"/>
              </a:ext>
            </a:extLst>
          </p:cNvPr>
          <p:cNvGrpSpPr/>
          <p:nvPr/>
        </p:nvGrpSpPr>
        <p:grpSpPr>
          <a:xfrm>
            <a:off x="318271" y="2998425"/>
            <a:ext cx="3555229" cy="1730591"/>
            <a:chOff x="318271" y="3074322"/>
            <a:chExt cx="3555229" cy="1730591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8D1587E1-42A4-0D7E-BADF-A69B4221F37A}"/>
                </a:ext>
              </a:extLst>
            </p:cNvPr>
            <p:cNvSpPr/>
            <p:nvPr/>
          </p:nvSpPr>
          <p:spPr>
            <a:xfrm>
              <a:off x="395242" y="3478710"/>
              <a:ext cx="3478258" cy="116949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600" b="1" dirty="0">
                  <a:solidFill>
                    <a:schemeClr val="accent4"/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Périmètre des analyses</a:t>
              </a:r>
            </a:p>
            <a:p>
              <a:endParaRPr lang="fr-FR" sz="1600" b="1" dirty="0">
                <a:solidFill>
                  <a:schemeClr val="accent4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endParaRPr lang="fr-FR" sz="1600" b="1" dirty="0">
                <a:solidFill>
                  <a:schemeClr val="accent4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endParaRPr lang="fr-FR" sz="1600" b="1" dirty="0">
                <a:solidFill>
                  <a:schemeClr val="accent4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pic>
          <p:nvPicPr>
            <p:cNvPr id="26" name="Graphic 25" descr="Tag with solid fill">
              <a:extLst>
                <a:ext uri="{FF2B5EF4-FFF2-40B4-BE49-F238E27FC236}">
                  <a16:creationId xmlns:a16="http://schemas.microsoft.com/office/drawing/2014/main" id="{F904D9F6-0B2C-6737-3DF7-D8AB695A6E3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18271" y="3074322"/>
              <a:ext cx="499638" cy="499638"/>
            </a:xfrm>
            <a:prstGeom prst="rect">
              <a:avLst/>
            </a:prstGeom>
          </p:spPr>
        </p:pic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53F33768-D183-34DC-D942-D58ED6D5590D}"/>
                </a:ext>
              </a:extLst>
            </p:cNvPr>
            <p:cNvSpPr/>
            <p:nvPr/>
          </p:nvSpPr>
          <p:spPr>
            <a:xfrm>
              <a:off x="395242" y="3820952"/>
              <a:ext cx="3478258" cy="98396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400" b="0" i="0" u="none" strike="noStrike" kern="1200" cap="none" spc="0" normalizeH="0" baseline="0" noProof="0">
                  <a:ln>
                    <a:noFill/>
                  </a:ln>
                  <a:solidFill>
                    <a:srgbClr val="1B1C1F"/>
                  </a:solidFill>
                  <a:effectLst/>
                  <a:uLnTx/>
                  <a:uFillTx/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L’étude est une analyse détaillée de la catégorie Gin chez Leclerc entre 23 juin 2025 et 22 sept 2025. </a:t>
              </a:r>
              <a:endParaRPr lang="fr-FR" sz="1600" b="1" dirty="0">
                <a:solidFill>
                  <a:schemeClr val="accent4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C5A348B8-05BC-85F7-401D-8E36045359AE}"/>
              </a:ext>
            </a:extLst>
          </p:cNvPr>
          <p:cNvGrpSpPr/>
          <p:nvPr/>
        </p:nvGrpSpPr>
        <p:grpSpPr>
          <a:xfrm>
            <a:off x="318271" y="1157762"/>
            <a:ext cx="3555229" cy="1624629"/>
            <a:chOff x="318271" y="1157762"/>
            <a:chExt cx="3555229" cy="1624629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ECA3A000-1FDD-6C40-A571-7B81A6493F05}"/>
                </a:ext>
              </a:extLst>
            </p:cNvPr>
            <p:cNvSpPr/>
            <p:nvPr/>
          </p:nvSpPr>
          <p:spPr>
            <a:xfrm>
              <a:off x="395242" y="1612901"/>
              <a:ext cx="3478258" cy="116949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600" b="1" dirty="0">
                  <a:solidFill>
                    <a:schemeClr val="accent4"/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Source utilisée</a:t>
              </a:r>
            </a:p>
            <a:p>
              <a:r>
                <a:rPr lang="fr-FR" sz="1400" dirty="0">
                  <a:solidFill>
                    <a:schemeClr val="tx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L’ensemble des informations présentées ont été collectées directement sur les </a:t>
              </a:r>
              <a:r>
                <a:rPr lang="fr-FR" sz="1400" b="1" dirty="0">
                  <a:solidFill>
                    <a:schemeClr val="tx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sites internet des distributeurs</a:t>
              </a:r>
              <a:r>
                <a:rPr lang="fr-FR" sz="1400" dirty="0">
                  <a:solidFill>
                    <a:schemeClr val="tx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.</a:t>
              </a:r>
              <a:endParaRPr lang="fr-FR" sz="1400" b="1" dirty="0">
                <a:solidFill>
                  <a:schemeClr val="tx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pic>
          <p:nvPicPr>
            <p:cNvPr id="27" name="Graphic 26" descr="Grocery bag with solid fill">
              <a:extLst>
                <a:ext uri="{FF2B5EF4-FFF2-40B4-BE49-F238E27FC236}">
                  <a16:creationId xmlns:a16="http://schemas.microsoft.com/office/drawing/2014/main" id="{4F700886-86A8-B6ED-AE49-E560710A9AC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18271" y="1157762"/>
              <a:ext cx="499638" cy="499638"/>
            </a:xfrm>
            <a:prstGeom prst="rect">
              <a:avLst/>
            </a:prstGeom>
          </p:spPr>
        </p:pic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430D6EB9-7C3D-6D78-2219-50951BF1FEE5}"/>
              </a:ext>
            </a:extLst>
          </p:cNvPr>
          <p:cNvGrpSpPr/>
          <p:nvPr/>
        </p:nvGrpSpPr>
        <p:grpSpPr>
          <a:xfrm>
            <a:off x="4241800" y="0"/>
            <a:ext cx="7950200" cy="6085893"/>
            <a:chOff x="4241800" y="0"/>
            <a:chExt cx="7950200" cy="6047683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AA077F09-D7D8-BB5E-78B8-5BC64309B05B}"/>
                </a:ext>
              </a:extLst>
            </p:cNvPr>
            <p:cNvSpPr/>
            <p:nvPr/>
          </p:nvSpPr>
          <p:spPr>
            <a:xfrm>
              <a:off x="8216900" y="3023841"/>
              <a:ext cx="3975100" cy="3023842"/>
            </a:xfrm>
            <a:prstGeom prst="rect">
              <a:avLst/>
            </a:prstGeom>
            <a:blipFill>
              <a:blip r:embed="rId9"/>
              <a:stretch>
                <a:fillRect/>
              </a:stretch>
            </a:blipFill>
            <a:ln>
              <a:noFill/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54000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64107E50-0B5B-FA06-9335-8B1DEFF0B7F7}"/>
                </a:ext>
              </a:extLst>
            </p:cNvPr>
            <p:cNvSpPr/>
            <p:nvPr/>
          </p:nvSpPr>
          <p:spPr>
            <a:xfrm>
              <a:off x="4241800" y="0"/>
              <a:ext cx="3975100" cy="3023842"/>
            </a:xfrm>
            <a:prstGeom prst="rect">
              <a:avLst/>
            </a:prstGeom>
            <a:blipFill dpi="0" rotWithShape="1">
              <a:blip r:embed="rId10"/>
              <a:srcRect/>
              <a:tile tx="-1358900" ty="0" sx="10000" sy="10000" flip="none" algn="tl"/>
            </a:blipFill>
            <a:ln>
              <a:noFill/>
            </a:ln>
            <a:effectLst>
              <a:innerShdw blurRad="63500" dist="50800" dir="27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54000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85225876-6D87-BAEB-E494-FEC515E90EBE}"/>
                </a:ext>
              </a:extLst>
            </p:cNvPr>
            <p:cNvSpPr/>
            <p:nvPr/>
          </p:nvSpPr>
          <p:spPr>
            <a:xfrm>
              <a:off x="8216900" y="0"/>
              <a:ext cx="3975100" cy="3023842"/>
            </a:xfrm>
            <a:prstGeom prst="rect">
              <a:avLst/>
            </a:prstGeom>
            <a:blipFill>
              <a:blip r:embed="rId11"/>
              <a:stretch>
                <a:fillRect/>
              </a:stretch>
            </a:blip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7EF25BE-0065-9547-06B3-58B33C896828}"/>
                </a:ext>
              </a:extLst>
            </p:cNvPr>
            <p:cNvSpPr/>
            <p:nvPr/>
          </p:nvSpPr>
          <p:spPr>
            <a:xfrm>
              <a:off x="4241800" y="3023841"/>
              <a:ext cx="3975100" cy="3023842"/>
            </a:xfrm>
            <a:prstGeom prst="rect">
              <a:avLst/>
            </a:prstGeom>
            <a:blipFill>
              <a:blip r:embed="rId12"/>
              <a:stretch>
                <a:fillRect/>
              </a:stretch>
            </a:blipFill>
            <a:ln>
              <a:noFill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54000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91FD6EF8-D58E-5A5A-6818-1305983309EC}"/>
                </a:ext>
              </a:extLst>
            </p:cNvPr>
            <p:cNvSpPr/>
            <p:nvPr/>
          </p:nvSpPr>
          <p:spPr>
            <a:xfrm>
              <a:off x="4241800" y="0"/>
              <a:ext cx="3974400" cy="302543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fr-FR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fr-FR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fr-FR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Drives inclus dans l’étude</a:t>
              </a: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C0E5EB0E-ECA2-5472-9915-7DEA9982AF56}"/>
                </a:ext>
              </a:extLst>
            </p:cNvPr>
            <p:cNvSpPr/>
            <p:nvPr/>
          </p:nvSpPr>
          <p:spPr>
            <a:xfrm>
              <a:off x="8217600" y="0"/>
              <a:ext cx="3974400" cy="302543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rgbClr val="1B1C1F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fr-FR" dirty="0">
                <a:solidFill>
                  <a:srgbClr val="1B1C1F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rgbClr val="1B1C1F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fr-FR" dirty="0">
                <a:solidFill>
                  <a:srgbClr val="1B1C1F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rgbClr val="1B1C1F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fr-FR" dirty="0">
                <a:solidFill>
                  <a:srgbClr val="1B1C1F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1B1C1F"/>
                  </a:solidFill>
                  <a:effectLst/>
                  <a:uLnTx/>
                  <a:uFillTx/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Distributeur étudié</a:t>
              </a: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4CB79906-8409-B04C-FD30-C6C1E498527B}"/>
                </a:ext>
              </a:extLst>
            </p:cNvPr>
            <p:cNvSpPr/>
            <p:nvPr/>
          </p:nvSpPr>
          <p:spPr>
            <a:xfrm>
              <a:off x="4241800" y="3022253"/>
              <a:ext cx="3974400" cy="302543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lvl="0" algn="ctr"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rgbClr val="1B1C1F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lvl="0" algn="ctr">
                <a:defRPr/>
              </a:pPr>
              <a:endParaRPr lang="fr-FR" dirty="0">
                <a:solidFill>
                  <a:srgbClr val="1B1C1F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lvl="0" algn="ctr"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rgbClr val="1B1C1F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lvl="0" algn="ctr">
                <a:defRPr/>
              </a:pPr>
              <a:endParaRPr lang="fr-FR" dirty="0">
                <a:solidFill>
                  <a:srgbClr val="1B1C1F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lvl="0" algn="ctr"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rgbClr val="1B1C1F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lvl="0" algn="ctr">
                <a:defRPr/>
              </a:pPr>
              <a:endParaRPr lang="fr-FR" dirty="0">
                <a:solidFill>
                  <a:srgbClr val="1B1C1F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lvl="0" algn="ctr">
                <a:defRPr/>
              </a:pPr>
              <a:r>
                <a: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1B1C1F"/>
                  </a:solidFill>
                  <a:effectLst/>
                  <a:uLnTx/>
                  <a:uFillTx/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Marques disponibles</a:t>
              </a: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54E506C2-28ED-28EB-CEF2-888637D7DB8A}"/>
                </a:ext>
              </a:extLst>
            </p:cNvPr>
            <p:cNvSpPr/>
            <p:nvPr/>
          </p:nvSpPr>
          <p:spPr>
            <a:xfrm>
              <a:off x="8217600" y="3022253"/>
              <a:ext cx="3974400" cy="3025430"/>
            </a:xfrm>
            <a:prstGeom prst="rect">
              <a:avLst/>
            </a:prstGeom>
            <a:solidFill>
              <a:srgbClr val="303237">
                <a:alpha val="30196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fr-FR" dirty="0">
                <a:solidFill>
                  <a:prstClr val="white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fr-FR" dirty="0">
                <a:solidFill>
                  <a:prstClr val="white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fr-FR" dirty="0">
                <a:solidFill>
                  <a:prstClr val="white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80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Focus sur le dernier trimestre</a:t>
              </a: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5E9CCE27-787E-E6AE-D749-94FDD95A11DF}"/>
              </a:ext>
            </a:extLst>
          </p:cNvPr>
          <p:cNvGrpSpPr/>
          <p:nvPr/>
        </p:nvGrpSpPr>
        <p:grpSpPr>
          <a:xfrm>
            <a:off x="4241800" y="6085893"/>
            <a:ext cx="7950200" cy="772107"/>
            <a:chOff x="4241800" y="6085893"/>
            <a:chExt cx="7950200" cy="772107"/>
          </a:xfrm>
        </p:grpSpPr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E4A58B86-690A-548E-28B8-A3FFF63346DB}"/>
                </a:ext>
              </a:extLst>
            </p:cNvPr>
            <p:cNvSpPr txBox="1"/>
            <p:nvPr/>
          </p:nvSpPr>
          <p:spPr>
            <a:xfrm>
              <a:off x="4241800" y="6085893"/>
              <a:ext cx="7950200" cy="772107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txBody>
            <a:bodyPr wrap="square" lIns="540000" tIns="108000" rIns="0" bIns="108000" rtlCol="0">
              <a:spAutoFit/>
            </a:bodyPr>
            <a:lstStyle/>
            <a:p>
              <a:r>
                <a:rPr lang="fr-FR" dirty="0">
                  <a:solidFill>
                    <a:schemeClr val="bg1"/>
                  </a:solidFill>
                  <a:latin typeface="Aptos" panose="020B0004020202020204" pitchFamily="34" charset="0"/>
                </a:rPr>
                <a:t>Pour toute </a:t>
              </a:r>
              <a:r>
                <a:rPr lang="fr-FR" b="1" dirty="0">
                  <a:solidFill>
                    <a:schemeClr val="bg1"/>
                  </a:solidFill>
                  <a:latin typeface="Aptos" panose="020B0004020202020204" pitchFamily="34" charset="0"/>
                </a:rPr>
                <a:t>demande d’évolution </a:t>
              </a:r>
              <a:r>
                <a:rPr lang="fr-FR" dirty="0">
                  <a:solidFill>
                    <a:schemeClr val="bg1"/>
                  </a:solidFill>
                  <a:latin typeface="Aptos" panose="020B0004020202020204" pitchFamily="34" charset="0"/>
                </a:rPr>
                <a:t>de cette présentation, n’hésitez pas à nous contacter directement (contact en fin de présentation).</a:t>
              </a:r>
              <a:endParaRPr lang="en-US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pic>
          <p:nvPicPr>
            <p:cNvPr id="54" name="Graphic 53" descr="Lights On with solid fill">
              <a:extLst>
                <a:ext uri="{FF2B5EF4-FFF2-40B4-BE49-F238E27FC236}">
                  <a16:creationId xmlns:a16="http://schemas.microsoft.com/office/drawing/2014/main" id="{FA5BF1F1-A914-BD80-0789-F4DDD2C530EC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4284545" y="6204857"/>
              <a:ext cx="471234" cy="471234"/>
            </a:xfrm>
            <a:prstGeom prst="rect">
              <a:avLst/>
            </a:prstGeom>
          </p:spPr>
        </p:pic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1C22F960-7A57-6024-1F2B-8D497B0FEF7B}"/>
              </a:ext>
            </a:extLst>
          </p:cNvPr>
          <p:cNvSpPr/>
          <p:nvPr/>
        </p:nvSpPr>
        <p:spPr>
          <a:xfrm>
            <a:off x="4599196" y="1544859"/>
            <a:ext cx="3259608" cy="5147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lvl="0" algn="ctr">
              <a:defRPr/>
            </a:pPr>
            <a:r>
              <a:rPr lang="fr-FR" sz="7200" b="1">
                <a:solidFill>
                  <a:prstClr val="white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755</a:t>
            </a:r>
            <a:endParaRPr lang="fr-FR" sz="7200" b="1" dirty="0">
              <a:solidFill>
                <a:prstClr val="white"/>
              </a:solidFill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B72571D-6DFB-D595-A97F-E35F7BE921CE}"/>
              </a:ext>
            </a:extLst>
          </p:cNvPr>
          <p:cNvSpPr/>
          <p:nvPr/>
        </p:nvSpPr>
        <p:spPr>
          <a:xfrm>
            <a:off x="4599196" y="4581595"/>
            <a:ext cx="3259608" cy="5147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lvl="0" algn="ctr">
              <a:defRPr/>
            </a:pPr>
            <a:r>
              <a:rPr lang="fr-FR" sz="7200" b="1">
                <a:solidFill>
                  <a:srgbClr val="1B1C1F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23</a:t>
            </a:r>
            <a:endParaRPr lang="fr-FR" sz="7200" b="1" dirty="0">
              <a:solidFill>
                <a:srgbClr val="1B1C1F"/>
              </a:solidFill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E89EBF4-0AB5-0C50-B7FE-B78181B47C18}"/>
              </a:ext>
            </a:extLst>
          </p:cNvPr>
          <p:cNvSpPr/>
          <p:nvPr/>
        </p:nvSpPr>
        <p:spPr>
          <a:xfrm>
            <a:off x="8573596" y="4581595"/>
            <a:ext cx="3259608" cy="5147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lvl="0" algn="ctr">
              <a:defRPr/>
            </a:pPr>
            <a:r>
              <a:rPr lang="fr-FR" sz="7200" b="1" dirty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3 Moi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7AB87A5-E2F4-6A59-8B4D-6CF407C6E797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ontext01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24E52D8-8886-647A-2952-6955C0E18863}"/>
              </a:ext>
            </a:extLst>
          </p:cNvPr>
          <p:cNvSpPr txBox="1"/>
          <p:nvPr/>
        </p:nvSpPr>
        <p:spPr>
          <a:xfrm>
            <a:off x="395242" y="491349"/>
            <a:ext cx="3716707" cy="463846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1B1C1F"/>
                </a:solidFill>
                <a:effectLst/>
                <a:uLnTx/>
                <a:uFillTx/>
                <a:latin typeface="Aptos Black" panose="020B0004020202020204" pitchFamily="34" charset="0"/>
                <a:ea typeface="+mn-ea"/>
                <a:cs typeface="+mn-cs"/>
              </a:rPr>
              <a:t>Contexte de l’étude</a:t>
            </a:r>
            <a:endParaRPr kumimoji="0" lang="fr-FR" sz="2800" b="1" i="0" u="none" strike="noStrike" kern="1200" cap="none" spc="0" normalizeH="0" baseline="0" noProof="0" dirty="0">
              <a:ln>
                <a:noFill/>
              </a:ln>
              <a:solidFill>
                <a:srgbClr val="1B1C1F"/>
              </a:solidFill>
              <a:effectLst/>
              <a:uLnTx/>
              <a:uFillTx/>
              <a:latin typeface="Aptos Black" panose="020B00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6535050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8E50BD-1BD7-D807-1C9E-B7AA815241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Rectangle 55">
            <a:extLst>
              <a:ext uri="{FF2B5EF4-FFF2-40B4-BE49-F238E27FC236}">
                <a16:creationId xmlns:a16="http://schemas.microsoft.com/office/drawing/2014/main" id="{C4AAE167-E2C9-3587-FAA4-1BB4CF0389CF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9" name="Picture 8" descr="A black chess piece next to a silver pawn&#10;&#10;AI-generated content may be incorrect.">
            <a:extLst>
              <a:ext uri="{FF2B5EF4-FFF2-40B4-BE49-F238E27FC236}">
                <a16:creationId xmlns:a16="http://schemas.microsoft.com/office/drawing/2014/main" id="{E7D0F859-5F78-6D15-7105-1D0A65A27DA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197" r="27197"/>
          <a:stretch>
            <a:fillRect/>
          </a:stretch>
        </p:blipFill>
        <p:spPr>
          <a:xfrm>
            <a:off x="8669390" y="1403928"/>
            <a:ext cx="3522609" cy="4985388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AB6192FE-2EA1-E272-3E82-825D3B7A98BE}"/>
              </a:ext>
            </a:extLst>
          </p:cNvPr>
          <p:cNvSpPr/>
          <p:nvPr/>
        </p:nvSpPr>
        <p:spPr>
          <a:xfrm>
            <a:off x="532929" y="1403928"/>
            <a:ext cx="8136460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FDEDF424-C838-ACA0-3564-66F5CE48F19B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07587E90-6C08-3363-524B-67A5F0979D26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A105</a:t>
            </a:r>
            <a:endParaRPr lang="en-US" sz="1100" dirty="0">
              <a:solidFill>
                <a:schemeClr val="accent3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948D3B2-3984-1F23-08C0-7A0115AACDEE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i="1">
                <a:latin typeface="Aptos" panose="020B0004020202020204" pitchFamily="34" charset="0"/>
              </a:rPr>
              <a:t>C. Situation actuelle de Bombay</a:t>
            </a:r>
            <a:endParaRPr lang="fr-FR" sz="2800" b="1" dirty="0">
              <a:latin typeface="Aptos Black" panose="020B00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82A33C7-4298-CEB2-912E-31D0B494E52D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s sont les principaux enjeux stratégiques de Bombay chez Leclerc entre 23 juin 2025 et 22 sept 2025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211F944-13A2-3891-377C-A025AE3311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EF78A9-82AA-4C6F-AD45-43DF650E2802}" type="slidenum">
              <a:rPr lang="fr-FR" smtClean="0"/>
              <a:t>20</a:t>
            </a:fld>
            <a:endParaRPr lang="fr-FR"/>
          </a:p>
        </p:txBody>
      </p:sp>
      <p:pic>
        <p:nvPicPr>
          <p:cNvPr id="12" name="Picture 11" descr="A black background with grey letters&#10;&#10;AI-generated content may be incorrect.">
            <a:extLst>
              <a:ext uri="{FF2B5EF4-FFF2-40B4-BE49-F238E27FC236}">
                <a16:creationId xmlns:a16="http://schemas.microsoft.com/office/drawing/2014/main" id="{9FF33FF8-DB52-A82A-D07F-9268B0D5C68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6582" y="90715"/>
            <a:ext cx="1475418" cy="398680"/>
          </a:xfrm>
          <a:prstGeom prst="rect">
            <a:avLst/>
          </a:prstGeom>
        </p:spPr>
      </p:pic>
      <p:sp>
        <p:nvSpPr>
          <p:cNvPr id="50" name="TextBox 49">
            <a:extLst>
              <a:ext uri="{FF2B5EF4-FFF2-40B4-BE49-F238E27FC236}">
                <a16:creationId xmlns:a16="http://schemas.microsoft.com/office/drawing/2014/main" id="{6F231DA2-9CED-E5B8-4D2F-221B17F3C08A}"/>
              </a:ext>
            </a:extLst>
          </p:cNvPr>
          <p:cNvSpPr txBox="1"/>
          <p:nvPr/>
        </p:nvSpPr>
        <p:spPr>
          <a:xfrm>
            <a:off x="898070" y="1563201"/>
            <a:ext cx="6418981" cy="525401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>
                <a:latin typeface="Aptos" panose="020B0004020202020204" pitchFamily="34" charset="0"/>
              </a:rPr>
              <a:t>Récapitulatif de la performance de Bombay</a:t>
            </a:r>
          </a:p>
          <a:p>
            <a:endParaRPr lang="fr-FR" sz="1400" dirty="0">
              <a:latin typeface="Aptos" panose="020B0004020202020204" pitchFamily="34" charset="0"/>
            </a:endParaRPr>
          </a:p>
        </p:txBody>
      </p:sp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D5111BEA-B367-A8DE-5BEB-B25FC6F283A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52762715"/>
              </p:ext>
            </p:extLst>
          </p:nvPr>
        </p:nvGraphicFramePr>
        <p:xfrm>
          <a:off x="898070" y="2088602"/>
          <a:ext cx="7410205" cy="4065289"/>
        </p:xfrm>
        <a:graphic>
          <a:graphicData uri="http://schemas.openxmlformats.org/drawingml/2006/table">
            <a:tbl>
              <a:tblPr/>
              <a:tblGrid>
                <a:gridCol w="1764000">
                  <a:extLst>
                    <a:ext uri="{9D8B030D-6E8A-4147-A177-3AD203B41FA5}">
                      <a16:colId xmlns:a16="http://schemas.microsoft.com/office/drawing/2014/main" val="409594743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502884613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380772683"/>
                    </a:ext>
                  </a:extLst>
                </a:gridCol>
                <a:gridCol w="1326205">
                  <a:extLst>
                    <a:ext uri="{9D8B030D-6E8A-4147-A177-3AD203B41FA5}">
                      <a16:colId xmlns:a16="http://schemas.microsoft.com/office/drawing/2014/main" val="3822924323"/>
                    </a:ext>
                  </a:extLst>
                </a:gridCol>
                <a:gridCol w="1440000">
                  <a:extLst>
                    <a:ext uri="{9D8B030D-6E8A-4147-A177-3AD203B41FA5}">
                      <a16:colId xmlns:a16="http://schemas.microsoft.com/office/drawing/2014/main" val="289926397"/>
                    </a:ext>
                  </a:extLst>
                </a:gridCol>
                <a:gridCol w="1440000">
                  <a:extLst>
                    <a:ext uri="{9D8B030D-6E8A-4147-A177-3AD203B41FA5}">
                      <a16:colId xmlns:a16="http://schemas.microsoft.com/office/drawing/2014/main" val="1687771896"/>
                    </a:ext>
                  </a:extLst>
                </a:gridCol>
              </a:tblGrid>
              <a:tr h="274237"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Valeur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323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fr-FR" sz="1200" b="1" i="0" u="none" strike="noStrike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Rang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323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Interprétation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323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Premier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323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fr-FR" sz="1200" b="1" i="0" u="none" strike="noStrike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Dernier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323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8536269"/>
                  </a:ext>
                </a:extLst>
              </a:tr>
              <a:tr h="421228">
                <a:tc>
                  <a:txBody>
                    <a:bodyPr/>
                    <a:lstStyle/>
                    <a:p>
                      <a:pPr algn="r" rtl="0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3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3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3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3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3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3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6350352"/>
                  </a:ext>
                </a:extLst>
              </a:tr>
              <a:tr h="421228">
                <a:tc>
                  <a:txBody>
                    <a:bodyPr/>
                    <a:lstStyle/>
                    <a:p>
                      <a:pPr algn="r" rtl="0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1288111"/>
                  </a:ext>
                </a:extLst>
              </a:tr>
              <a:tr h="421228">
                <a:tc>
                  <a:txBody>
                    <a:bodyPr/>
                    <a:lstStyle/>
                    <a:p>
                      <a:pPr algn="r" rtl="0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F6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8581061"/>
                  </a:ext>
                </a:extLst>
              </a:tr>
              <a:tr h="421228">
                <a:tc>
                  <a:txBody>
                    <a:bodyPr/>
                    <a:lstStyle/>
                    <a:p>
                      <a:pPr algn="r" rtl="0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6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875392"/>
                  </a:ext>
                </a:extLst>
              </a:tr>
              <a:tr h="421228">
                <a:tc>
                  <a:txBody>
                    <a:bodyPr/>
                    <a:lstStyle/>
                    <a:p>
                      <a:pPr algn="r" rtl="0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6889486"/>
                  </a:ext>
                </a:extLst>
              </a:tr>
              <a:tr h="421228">
                <a:tc>
                  <a:txBody>
                    <a:bodyPr/>
                    <a:lstStyle/>
                    <a:p>
                      <a:pPr algn="r" rtl="0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C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369166"/>
                  </a:ext>
                </a:extLst>
              </a:tr>
              <a:tr h="421228">
                <a:tc>
                  <a:txBody>
                    <a:bodyPr/>
                    <a:lstStyle/>
                    <a:p>
                      <a:pPr algn="r" rtl="0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C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5094954"/>
                  </a:ext>
                </a:extLst>
              </a:tr>
              <a:tr h="421228">
                <a:tc>
                  <a:txBody>
                    <a:bodyPr/>
                    <a:lstStyle/>
                    <a:p>
                      <a:pPr algn="r" rtl="0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3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3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3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3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3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68737617"/>
                  </a:ext>
                </a:extLst>
              </a:tr>
              <a:tr h="421228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27017697"/>
                  </a:ext>
                </a:extLst>
              </a:tr>
            </a:tbl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5FA93A1A-290B-58D9-ACF4-7E3DB5969A90}"/>
              </a:ext>
            </a:extLst>
          </p:cNvPr>
          <p:cNvSpPr/>
          <p:nvPr/>
        </p:nvSpPr>
        <p:spPr>
          <a:xfrm>
            <a:off x="8669389" y="1403928"/>
            <a:ext cx="3522612" cy="4985388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400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DDABF6A-D345-1094-D394-F2C912DBDEA2}"/>
              </a:ext>
            </a:extLst>
          </p:cNvPr>
          <p:cNvSpPr/>
          <p:nvPr/>
        </p:nvSpPr>
        <p:spPr>
          <a:xfrm>
            <a:off x="8974659" y="1692875"/>
            <a:ext cx="3097367" cy="44997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fr-FR" sz="1400" b="1" dirty="0">
                <a:solidFill>
                  <a:schemeClr val="bg1"/>
                </a:solidFill>
              </a:rPr>
              <a:t>DISTRIBUTION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FR" sz="1400" dirty="0">
                <a:solidFill>
                  <a:schemeClr val="bg1"/>
                </a:solidFill>
              </a:rPr>
              <a:t>XXX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FR" sz="1400" dirty="0">
                <a:solidFill>
                  <a:schemeClr val="bg1"/>
                </a:solidFill>
              </a:rPr>
              <a:t>XXX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fr-FR" sz="1400" dirty="0">
              <a:solidFill>
                <a:schemeClr val="bg1"/>
              </a:solidFill>
            </a:endParaRPr>
          </a:p>
          <a:p>
            <a:r>
              <a:rPr lang="fr-FR" sz="1400" b="1" dirty="0">
                <a:solidFill>
                  <a:schemeClr val="bg1"/>
                </a:solidFill>
              </a:rPr>
              <a:t>POSITIONNEMENT PRIX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FR" sz="1400" dirty="0">
                <a:solidFill>
                  <a:schemeClr val="bg1"/>
                </a:solidFill>
              </a:rPr>
              <a:t>XXX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FR" sz="1400" dirty="0">
                <a:solidFill>
                  <a:schemeClr val="bg1"/>
                </a:solidFill>
              </a:rPr>
              <a:t>XXX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fr-FR" sz="1400" dirty="0">
              <a:solidFill>
                <a:schemeClr val="bg1"/>
              </a:solidFill>
            </a:endParaRPr>
          </a:p>
          <a:p>
            <a:r>
              <a:rPr lang="fr-FR" sz="1400" b="1" dirty="0">
                <a:solidFill>
                  <a:schemeClr val="bg1"/>
                </a:solidFill>
              </a:rPr>
              <a:t>ASSORTIMENT PRODUIT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FR" sz="1400" dirty="0">
                <a:solidFill>
                  <a:schemeClr val="bg1"/>
                </a:solidFill>
              </a:rPr>
              <a:t>XXX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FR" sz="1400" dirty="0">
                <a:solidFill>
                  <a:schemeClr val="bg1"/>
                </a:solidFill>
              </a:rPr>
              <a:t>XXX</a:t>
            </a:r>
          </a:p>
          <a:p>
            <a:endParaRPr lang="fr-FR" sz="1400" dirty="0">
              <a:solidFill>
                <a:schemeClr val="bg1"/>
              </a:solidFill>
            </a:endParaRPr>
          </a:p>
          <a:p>
            <a:r>
              <a:rPr lang="fr-FR" sz="1400" b="1" dirty="0">
                <a:solidFill>
                  <a:schemeClr val="bg1"/>
                </a:solidFill>
              </a:rPr>
              <a:t>PROMOTIO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FR" sz="1400" dirty="0">
                <a:solidFill>
                  <a:schemeClr val="bg1"/>
                </a:solidFill>
              </a:rPr>
              <a:t>XXX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FR" sz="1400" dirty="0">
                <a:solidFill>
                  <a:schemeClr val="bg1"/>
                </a:solidFill>
              </a:rPr>
              <a:t>XXX</a:t>
            </a:r>
          </a:p>
          <a:p>
            <a:endParaRPr lang="fr-FR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961506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60FEBEC-36D1-79C7-7A66-32B0F3EC35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BFBEF3E0-876A-FD25-DD67-261769BD11A1}"/>
              </a:ext>
            </a:extLst>
          </p:cNvPr>
          <p:cNvGrpSpPr/>
          <p:nvPr/>
        </p:nvGrpSpPr>
        <p:grpSpPr>
          <a:xfrm>
            <a:off x="-1" y="0"/>
            <a:ext cx="7421078" cy="6858000"/>
            <a:chOff x="-1" y="0"/>
            <a:chExt cx="7421078" cy="685800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342FF7DC-F527-3540-9C04-1FAB4CA607EC}"/>
                </a:ext>
              </a:extLst>
            </p:cNvPr>
            <p:cNvSpPr/>
            <p:nvPr/>
          </p:nvSpPr>
          <p:spPr>
            <a:xfrm>
              <a:off x="1" y="4454"/>
              <a:ext cx="7421076" cy="6853546"/>
            </a:xfrm>
            <a:prstGeom prst="rect">
              <a:avLst/>
            </a:prstGeom>
            <a:blipFill>
              <a:blip r:embed="rId3"/>
              <a:stretch>
                <a:fillRect l="-9598" r="-9598"/>
              </a:stretch>
            </a:blip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fr-FR" sz="1600" b="1" noProof="0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8916194A-F962-8D75-76E5-DDA9407B770C}"/>
                </a:ext>
              </a:extLst>
            </p:cNvPr>
            <p:cNvSpPr/>
            <p:nvPr/>
          </p:nvSpPr>
          <p:spPr>
            <a:xfrm>
              <a:off x="-1" y="0"/>
              <a:ext cx="7421076" cy="6858000"/>
            </a:xfrm>
            <a:prstGeom prst="rect">
              <a:avLst/>
            </a:prstGeom>
            <a:solidFill>
              <a:srgbClr val="303237">
                <a:alpha val="69804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fr-FR" sz="8800" b="1" noProof="0" dirty="0">
                <a:solidFill>
                  <a:schemeClr val="tx1">
                    <a:lumMod val="50000"/>
                    <a:lumOff val="50000"/>
                  </a:schemeClr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endParaRPr>
            </a:p>
          </p:txBody>
        </p:sp>
      </p:grp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E19BA2FD-49FF-9440-1FF9-6EC84109665C}"/>
              </a:ext>
            </a:extLst>
          </p:cNvPr>
          <p:cNvSpPr/>
          <p:nvPr/>
        </p:nvSpPr>
        <p:spPr>
          <a:xfrm>
            <a:off x="5544152" y="524576"/>
            <a:ext cx="6188400" cy="5808848"/>
          </a:xfrm>
          <a:prstGeom prst="roundRect">
            <a:avLst>
              <a:gd name="adj" fmla="val 4074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tIns="468000" rIns="0" bIns="0" rtlCol="0" anchor="t"/>
          <a:lstStyle/>
          <a:p>
            <a:pPr algn="l"/>
            <a:r>
              <a:rPr lang="fr-FR" sz="2400" b="1" dirty="0">
                <a:solidFill>
                  <a:schemeClr val="accent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ommaire</a:t>
            </a:r>
            <a:endParaRPr lang="fr-FR" sz="2400" b="1" noProof="0" dirty="0">
              <a:solidFill>
                <a:schemeClr val="accent1"/>
              </a:solidFill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algn="l"/>
            <a:endParaRPr lang="fr-FR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400050" indent="-400050" algn="l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texte global</a:t>
            </a:r>
          </a:p>
          <a:p>
            <a:pPr marL="400050" indent="-400050" algn="l">
              <a:buAutoNum type="romanUcPeriod"/>
            </a:pPr>
            <a:endParaRPr lang="fr-FR" noProof="0" dirty="0">
              <a:solidFill>
                <a:schemeClr val="bg1">
                  <a:lumMod val="75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400050" indent="-400050" algn="l">
              <a:buAutoNum type="romanUcPeriod"/>
            </a:pPr>
            <a:r>
              <a:rPr lang="fr-FR" b="1" noProof="0" dirty="0">
                <a:solidFill>
                  <a:schemeClr val="accent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Distribution et assortiment</a:t>
            </a:r>
          </a:p>
          <a:p>
            <a:pPr marL="857250" lvl="1" indent="-400050">
              <a:buFont typeface="+mj-lt"/>
              <a:buAutoNum type="alphaLcPeriod"/>
            </a:pPr>
            <a:r>
              <a:rPr lang="fr-FR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État des lieux de la distribution</a:t>
            </a:r>
          </a:p>
          <a:p>
            <a:pPr marL="857250" lvl="1" indent="-400050">
              <a:buFont typeface="+mj-lt"/>
              <a:buAutoNum type="alphaLcPeriod"/>
            </a:pPr>
            <a:r>
              <a:rPr lang="fr-FR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mprendre l’architecture de gamme</a:t>
            </a:r>
            <a:endParaRPr lang="fr-FR" b="1" noProof="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857250" lvl="1" indent="-400050">
              <a:buFont typeface="+mj-lt"/>
              <a:buAutoNum type="alphaLcPeriod"/>
            </a:pPr>
            <a:r>
              <a:rPr lang="fr-FR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1 :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quérir les bons magasins</a:t>
            </a:r>
          </a:p>
          <a:p>
            <a:pPr marL="857250" lvl="1" indent="-400050">
              <a:buFont typeface="+mj-lt"/>
              <a:buAutoNum type="alphaLcPeriod"/>
            </a:pPr>
            <a:r>
              <a:rPr lang="fr-FR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</a:t>
            </a:r>
            <a:r>
              <a:rPr lang="fr-FR" b="1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n°2 : </a:t>
            </a:r>
            <a:r>
              <a:rPr lang="fr-FR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roposer les bons produits</a:t>
            </a:r>
          </a:p>
          <a:p>
            <a:pPr marL="857250" lvl="1" indent="-400050">
              <a:buFont typeface="+mj-lt"/>
              <a:buAutoNum type="alphaLcPeriod"/>
            </a:pPr>
            <a:r>
              <a:rPr lang="fr-FR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3 :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Mesurer la cannibalisation</a:t>
            </a:r>
          </a:p>
          <a:p>
            <a:pPr marL="857250" lvl="1" indent="-400050">
              <a:buFont typeface="+mj-lt"/>
              <a:buAutoNum type="alphaLcPeriod"/>
            </a:pPr>
            <a:r>
              <a:rPr lang="fr-FR" b="1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4 : </a:t>
            </a:r>
            <a:r>
              <a:rPr lang="fr-FR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enforcer la mise en avant</a:t>
            </a:r>
          </a:p>
          <a:p>
            <a:pPr marL="857250" lvl="1" indent="-400050">
              <a:buFont typeface="+mj-lt"/>
              <a:buAutoNum type="alphaLcPeriod"/>
            </a:pPr>
            <a:endParaRPr lang="fr-FR" noProof="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400050" indent="-400050" algn="l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olitique tarifaire</a:t>
            </a:r>
          </a:p>
          <a:p>
            <a:pPr marL="400050" indent="-400050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Analyse promotionnelle</a:t>
            </a:r>
          </a:p>
          <a:p>
            <a:pPr marL="400050" indent="-400050">
              <a:buFontTx/>
              <a:buAutoNum type="romanUcPeriod"/>
            </a:pPr>
            <a:r>
              <a:rPr lang="fr-FR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Disponibilité et ruptures</a:t>
            </a:r>
          </a:p>
          <a:p>
            <a:pPr marL="400050" indent="-400050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Territoires commerciaux</a:t>
            </a:r>
          </a:p>
          <a:p>
            <a:pPr marL="400050" indent="-400050">
              <a:buAutoNum type="romanUcPeriod"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5108105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590244-B94A-279C-30C2-70DECF7174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8EA16D2A-9D31-9DE6-CBFD-B2C34C7F1DBA}"/>
              </a:ext>
            </a:extLst>
          </p:cNvPr>
          <p:cNvSpPr/>
          <p:nvPr/>
        </p:nvSpPr>
        <p:spPr>
          <a:xfrm>
            <a:off x="510173" y="477224"/>
            <a:ext cx="11171654" cy="5903552"/>
          </a:xfrm>
          <a:prstGeom prst="roundRect">
            <a:avLst>
              <a:gd name="adj" fmla="val 2986"/>
            </a:avLst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890725CB-45CA-1BEC-F3B6-ED64F90D1173}"/>
              </a:ext>
            </a:extLst>
          </p:cNvPr>
          <p:cNvSpPr/>
          <p:nvPr/>
        </p:nvSpPr>
        <p:spPr>
          <a:xfrm>
            <a:off x="510173" y="477224"/>
            <a:ext cx="11171654" cy="5903552"/>
          </a:xfrm>
          <a:prstGeom prst="roundRect">
            <a:avLst>
              <a:gd name="adj" fmla="val 2986"/>
            </a:avLst>
          </a:prstGeom>
          <a:solidFill>
            <a:schemeClr val="tx1">
              <a:lumMod val="75000"/>
              <a:lumOff val="25000"/>
              <a:alpha val="69804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BE2E6973-A560-75D4-A75E-34EA3F7AAE0A}"/>
              </a:ext>
            </a:extLst>
          </p:cNvPr>
          <p:cNvGrpSpPr/>
          <p:nvPr/>
        </p:nvGrpSpPr>
        <p:grpSpPr>
          <a:xfrm>
            <a:off x="995351" y="896536"/>
            <a:ext cx="10060272" cy="463846"/>
            <a:chOff x="532932" y="492774"/>
            <a:chExt cx="10060272" cy="463846"/>
          </a:xfrm>
        </p:grpSpPr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31B1669B-5E91-891D-6291-687549D596D8}"/>
                </a:ext>
              </a:extLst>
            </p:cNvPr>
            <p:cNvSpPr/>
            <p:nvPr/>
          </p:nvSpPr>
          <p:spPr>
            <a:xfrm>
              <a:off x="532932" y="611296"/>
              <a:ext cx="226904" cy="226904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en-US" sz="1600" b="1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08DD2432-1CD6-88A3-2C34-B0297B52A994}"/>
                </a:ext>
              </a:extLst>
            </p:cNvPr>
            <p:cNvSpPr txBox="1"/>
            <p:nvPr/>
          </p:nvSpPr>
          <p:spPr>
            <a:xfrm>
              <a:off x="898070" y="492774"/>
              <a:ext cx="9695134" cy="463846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2400" b="1" dirty="0">
                  <a:solidFill>
                    <a:schemeClr val="bg1"/>
                  </a:solidFill>
                  <a:latin typeface="Aptos Black" panose="020B0004020202020204" pitchFamily="34" charset="0"/>
                </a:rPr>
                <a:t>Synthèse de la partie distribution et assortiment.</a:t>
              </a: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39BF4CCF-867D-64D8-3997-F5B49D863D04}"/>
              </a:ext>
            </a:extLst>
          </p:cNvPr>
          <p:cNvGrpSpPr/>
          <p:nvPr/>
        </p:nvGrpSpPr>
        <p:grpSpPr>
          <a:xfrm>
            <a:off x="995351" y="1559627"/>
            <a:ext cx="10347862" cy="1420993"/>
            <a:chOff x="995351" y="1603169"/>
            <a:chExt cx="10347862" cy="1420993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3A4BD35C-A429-399D-D855-9530E37B5E92}"/>
                </a:ext>
              </a:extLst>
            </p:cNvPr>
            <p:cNvSpPr/>
            <p:nvPr/>
          </p:nvSpPr>
          <p:spPr>
            <a:xfrm>
              <a:off x="995351" y="1603169"/>
              <a:ext cx="10347862" cy="29504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600" b="1">
                  <a:solidFill>
                    <a:schemeClr val="bg1"/>
                  </a:solidFill>
                </a:rPr>
                <a:t>Quelles sont les grandes tendances de distribution des produits Bombay ?</a:t>
              </a:r>
              <a:endParaRPr lang="fr-FR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00C6D67C-3A72-CB67-F901-96801C81CBFC}"/>
                </a:ext>
              </a:extLst>
            </p:cNvPr>
            <p:cNvSpPr/>
            <p:nvPr/>
          </p:nvSpPr>
          <p:spPr>
            <a:xfrm>
              <a:off x="995351" y="1922482"/>
              <a:ext cx="10347862" cy="110168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r>
                <a:rPr lang="fr-FR" sz="1600" dirty="0">
                  <a:solidFill>
                    <a:schemeClr val="bg1"/>
                  </a:solidFill>
                </a:rPr>
                <a:t>Texte ici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1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2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3</a:t>
              </a:r>
            </a:p>
            <a:p>
              <a:endParaRPr lang="fr-FR" sz="16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12565A23-B44B-C10B-4CED-2465E76B7F51}"/>
              </a:ext>
            </a:extLst>
          </p:cNvPr>
          <p:cNvGrpSpPr/>
          <p:nvPr/>
        </p:nvGrpSpPr>
        <p:grpSpPr>
          <a:xfrm>
            <a:off x="995351" y="3121415"/>
            <a:ext cx="10347862" cy="1420993"/>
            <a:chOff x="995351" y="1603169"/>
            <a:chExt cx="10347862" cy="1420993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98CFC73A-5440-5634-9C35-E78F2F2DFBBC}"/>
                </a:ext>
              </a:extLst>
            </p:cNvPr>
            <p:cNvSpPr/>
            <p:nvPr/>
          </p:nvSpPr>
          <p:spPr>
            <a:xfrm>
              <a:off x="995351" y="1603169"/>
              <a:ext cx="10347862" cy="29504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600" b="1">
                  <a:solidFill>
                    <a:schemeClr val="bg1"/>
                  </a:solidFill>
                </a:rPr>
                <a:t>Quelles sont les initiatives les plus prometteuses pour améliorer les ventes chez Leclerc ? </a:t>
              </a:r>
              <a:endParaRPr lang="fr-FR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2A980765-5266-5E98-7D57-D05485D53B17}"/>
                </a:ext>
              </a:extLst>
            </p:cNvPr>
            <p:cNvSpPr/>
            <p:nvPr/>
          </p:nvSpPr>
          <p:spPr>
            <a:xfrm>
              <a:off x="995351" y="1922482"/>
              <a:ext cx="10347862" cy="110168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r>
                <a:rPr lang="fr-FR" sz="1600" dirty="0">
                  <a:solidFill>
                    <a:schemeClr val="bg1"/>
                  </a:solidFill>
                </a:rPr>
                <a:t>Texte ici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1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2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3</a:t>
              </a:r>
            </a:p>
            <a:p>
              <a:endParaRPr lang="fr-FR" sz="16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CD76B00F-CA8C-FAFA-FB87-7F4EB982340B}"/>
              </a:ext>
            </a:extLst>
          </p:cNvPr>
          <p:cNvGrpSpPr/>
          <p:nvPr/>
        </p:nvGrpSpPr>
        <p:grpSpPr>
          <a:xfrm>
            <a:off x="995351" y="4683203"/>
            <a:ext cx="10347862" cy="1420993"/>
            <a:chOff x="995351" y="1603169"/>
            <a:chExt cx="10347862" cy="1420993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6319ED1B-D528-8B9D-A838-017DBE7B2CD7}"/>
                </a:ext>
              </a:extLst>
            </p:cNvPr>
            <p:cNvSpPr/>
            <p:nvPr/>
          </p:nvSpPr>
          <p:spPr>
            <a:xfrm>
              <a:off x="995351" y="1603169"/>
              <a:ext cx="10347862" cy="29504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600" b="1" dirty="0">
                  <a:solidFill>
                    <a:schemeClr val="bg1"/>
                  </a:solidFill>
                </a:rPr>
                <a:t>Quelles sont les prochaines étapes à mettre en œuvre pour saisir le potentiel de distribution ? 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76DD2881-8A6A-3E75-C87F-25C7E605757D}"/>
                </a:ext>
              </a:extLst>
            </p:cNvPr>
            <p:cNvSpPr/>
            <p:nvPr/>
          </p:nvSpPr>
          <p:spPr>
            <a:xfrm>
              <a:off x="995351" y="1922482"/>
              <a:ext cx="10347862" cy="110168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r>
                <a:rPr lang="fr-FR" sz="1600" dirty="0">
                  <a:solidFill>
                    <a:schemeClr val="bg1"/>
                  </a:solidFill>
                </a:rPr>
                <a:t>Texte ici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1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2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3</a:t>
              </a:r>
            </a:p>
            <a:p>
              <a:endParaRPr lang="fr-FR" sz="1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347764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5F971B-CC58-4398-C942-83E4EE9069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DDFF680-3EC2-F1EA-AAC3-98F19D52F063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5C1094D-FFB0-24F5-A361-90EB820E4BC0}"/>
              </a:ext>
            </a:extLst>
          </p:cNvPr>
          <p:cNvSpPr/>
          <p:nvPr/>
        </p:nvSpPr>
        <p:spPr>
          <a:xfrm>
            <a:off x="532929" y="1403928"/>
            <a:ext cx="495151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4CC79BD9-F563-5B9E-582E-60E66BEDC239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397D914-2BD9-A449-3496-51EDEA10CEE0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B001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372C6806-9AC2-DC10-5B30-2AFDD990E5E4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i="1" dirty="0">
                <a:latin typeface="Aptos" panose="020B0004020202020204" pitchFamily="34" charset="0"/>
              </a:rPr>
              <a:t>A. État des lieux de la distribution</a:t>
            </a:r>
            <a:endParaRPr lang="fr-FR" sz="2800" b="1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E2721120-80C3-2F43-469A-84C83B49CF0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6E777673-879E-B62F-CAA7-B35FF2373355}"/>
              </a:ext>
            </a:extLst>
          </p:cNvPr>
          <p:cNvSpPr txBox="1"/>
          <p:nvPr/>
        </p:nvSpPr>
        <p:spPr>
          <a:xfrm>
            <a:off x="898070" y="492774"/>
            <a:ext cx="10760998" cy="1202510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Comment évolue la distribution numérique de Bombay chez Leclerc  au niveau national et par région ?</a:t>
            </a:r>
          </a:p>
          <a:p>
            <a:endParaRPr lang="fr-FR" sz="2400" b="1" dirty="0">
              <a:latin typeface="Aptos Black" panose="020B0004020202020204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9D66F62-A800-3191-D5F7-AD56B486D5E9}"/>
              </a:ext>
            </a:extLst>
          </p:cNvPr>
          <p:cNvGrpSpPr/>
          <p:nvPr/>
        </p:nvGrpSpPr>
        <p:grpSpPr>
          <a:xfrm>
            <a:off x="898070" y="1563201"/>
            <a:ext cx="4254501" cy="534498"/>
            <a:chOff x="1050129" y="1563201"/>
            <a:chExt cx="4326467" cy="534498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237E1810-6F68-6380-D75F-7B76947D21C5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Évolution de la distribution numérique de Bombay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88DFD4BB-061A-5644-1837-76E88CB708F1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79EEB8F-C4A7-4B03-3972-50D1E7BA2B67}"/>
              </a:ext>
            </a:extLst>
          </p:cNvPr>
          <p:cNvGrpSpPr/>
          <p:nvPr/>
        </p:nvGrpSpPr>
        <p:grpSpPr>
          <a:xfrm>
            <a:off x="5874424" y="1563201"/>
            <a:ext cx="5784643" cy="534498"/>
            <a:chOff x="1050129" y="1563201"/>
            <a:chExt cx="4326467" cy="534498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B4272E1F-9935-F159-8723-FC4E313F4F0A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Distribution numérique par région et évolution en pp vs 23 juin 2025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1A9A649C-B67A-9B2B-52DF-91E59178D078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12" name="Slide Number Placeholder 7">
            <a:extLst>
              <a:ext uri="{FF2B5EF4-FFF2-40B4-BE49-F238E27FC236}">
                <a16:creationId xmlns:a16="http://schemas.microsoft.com/office/drawing/2014/main" id="{B7C4AB1A-A198-48D3-02DE-4CE7D31BB1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23</a:t>
            </a:fld>
            <a:endParaRPr lang="fr-FR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3071A58-58C0-0F68-3BB5-FF1868C15AE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8071" y="2411699"/>
            <a:ext cx="4254331" cy="3800414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23C59ABF-943E-1AD3-BC64-79100B4C0D4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74424" y="2182477"/>
            <a:ext cx="4676544" cy="4122061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E5C6D414-104F-1D08-11F1-CC5FE8AA7D3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569034" y="2184967"/>
            <a:ext cx="1173262" cy="41170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977423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27CD18-53B7-4054-A9A8-B6ADA2803C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Rectangle 55">
            <a:extLst>
              <a:ext uri="{FF2B5EF4-FFF2-40B4-BE49-F238E27FC236}">
                <a16:creationId xmlns:a16="http://schemas.microsoft.com/office/drawing/2014/main" id="{B946E3E7-DB53-81E9-8C7D-B48F864B3676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5B6F87C-5C7B-B964-A789-AED2C81F58F6}"/>
              </a:ext>
            </a:extLst>
          </p:cNvPr>
          <p:cNvSpPr/>
          <p:nvPr/>
        </p:nvSpPr>
        <p:spPr>
          <a:xfrm>
            <a:off x="532929" y="1403928"/>
            <a:ext cx="8441729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EB05684-5C65-9EF9-1A18-73EC50AFE00F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i="1" dirty="0">
                <a:latin typeface="Aptos" panose="020B0004020202020204" pitchFamily="34" charset="0"/>
              </a:rPr>
              <a:t>A. État des lieux de la distribution</a:t>
            </a:r>
            <a:endParaRPr lang="fr-FR" sz="2800" b="1" dirty="0">
              <a:latin typeface="Aptos Black" panose="020B0004020202020204" pitchFamily="34" charset="0"/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B15663AF-6BD5-CFEC-2486-17E520060AC8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04096AFC-BDE3-D7F4-7860-33751E7ECD13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B002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57E1337-210C-2476-3CB4-50EC50C2CC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599" y="6356350"/>
            <a:ext cx="3220595" cy="365125"/>
          </a:xfrm>
        </p:spPr>
        <p:txBody>
          <a:bodyPr/>
          <a:lstStyle/>
          <a:p>
            <a:fld id="{22EF78A9-82AA-4C6F-AD45-43DF650E2802}" type="slidenum">
              <a:rPr lang="fr-FR" smtClean="0">
                <a:solidFill>
                  <a:schemeClr val="bg1"/>
                </a:solidFill>
              </a:rPr>
              <a:t>24</a:t>
            </a:fld>
            <a:endParaRPr lang="fr-FR" dirty="0">
              <a:solidFill>
                <a:schemeClr val="bg1"/>
              </a:solidFill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95F41D80-87D2-64A7-1DD9-9C4B1B041F58}"/>
              </a:ext>
            </a:extLst>
          </p:cNvPr>
          <p:cNvSpPr txBox="1"/>
          <p:nvPr/>
        </p:nvSpPr>
        <p:spPr>
          <a:xfrm>
            <a:off x="898069" y="491349"/>
            <a:ext cx="11038557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La rotation du parc de magasins Leclerc adressés par Bombay est elle contrôlée ? 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E58E5096-5D04-FB68-8079-BA4DBD22333D}"/>
              </a:ext>
            </a:extLst>
          </p:cNvPr>
          <p:cNvGrpSpPr/>
          <p:nvPr/>
        </p:nvGrpSpPr>
        <p:grpSpPr>
          <a:xfrm>
            <a:off x="898070" y="1563201"/>
            <a:ext cx="5550231" cy="534498"/>
            <a:chOff x="1050129" y="1563201"/>
            <a:chExt cx="4326467" cy="534498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721ED4C6-3F4F-4485-44C7-B40058405B46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Rotation du part de magasins adressés par Bombay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BD2B6303-C8C4-2062-2CAC-01D1664EF388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8DE9F3E9-AEE7-0015-722B-8A407D29B4D6}"/>
              </a:ext>
            </a:extLst>
          </p:cNvPr>
          <p:cNvSpPr/>
          <p:nvPr/>
        </p:nvSpPr>
        <p:spPr>
          <a:xfrm>
            <a:off x="9338718" y="2162272"/>
            <a:ext cx="2733308" cy="403030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fr-FR" sz="1400" b="1" dirty="0">
                <a:solidFill>
                  <a:schemeClr val="tx1">
                    <a:lumMod val="90000"/>
                    <a:lumOff val="10000"/>
                  </a:schemeClr>
                </a:solidFill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sz="14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r>
              <a:rPr lang="fr-FR" sz="1400" b="1" dirty="0">
                <a:solidFill>
                  <a:schemeClr val="tx1">
                    <a:lumMod val="90000"/>
                    <a:lumOff val="10000"/>
                  </a:schemeClr>
                </a:solidFill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XXX</a:t>
            </a:r>
          </a:p>
          <a:p>
            <a:endParaRPr lang="fr-FR" sz="14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endParaRPr lang="fr-FR" sz="14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r>
              <a:rPr lang="fr-FR" sz="1400" b="1" dirty="0">
                <a:solidFill>
                  <a:schemeClr val="tx1">
                    <a:lumMod val="90000"/>
                    <a:lumOff val="10000"/>
                  </a:schemeClr>
                </a:solidFill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XXX</a:t>
            </a:r>
          </a:p>
          <a:p>
            <a:endParaRPr lang="fr-FR" sz="1400" b="1" dirty="0">
              <a:solidFill>
                <a:schemeClr val="tx1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A9AC6FE-36EF-3D2F-00DC-75812E79B0CF}"/>
              </a:ext>
            </a:extLst>
          </p:cNvPr>
          <p:cNvSpPr txBox="1"/>
          <p:nvPr/>
        </p:nvSpPr>
        <p:spPr>
          <a:xfrm>
            <a:off x="9338719" y="1563201"/>
            <a:ext cx="2733308" cy="525401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 dirty="0">
                <a:latin typeface="Aptos" panose="020B0004020202020204" pitchFamily="34" charset="0"/>
              </a:rPr>
              <a:t>Commentaires</a:t>
            </a:r>
          </a:p>
          <a:p>
            <a:endParaRPr lang="fr-FR" sz="1400" dirty="0">
              <a:latin typeface="Aptos" panose="020B0004020202020204" pitchFamily="34" charset="0"/>
            </a:endParaRPr>
          </a:p>
        </p:txBody>
      </p:sp>
      <p:sp>
        <p:nvSpPr>
          <p:cNvPr id="2" name="Slide Number Placeholder 7">
            <a:extLst>
              <a:ext uri="{FF2B5EF4-FFF2-40B4-BE49-F238E27FC236}">
                <a16:creationId xmlns:a16="http://schemas.microsoft.com/office/drawing/2014/main" id="{DE948DCE-57DC-23A4-96AD-03DC03003D87}"/>
              </a:ext>
            </a:extLst>
          </p:cNvPr>
          <p:cNvSpPr txBox="1">
            <a:spLocks/>
          </p:cNvSpPr>
          <p:nvPr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2EF78A9-82AA-4C6F-AD45-43DF650E2802}" type="slidenum">
              <a:rPr lang="fr-FR" smtClean="0"/>
              <a:pPr/>
              <a:t>24</a:t>
            </a:fld>
            <a:endParaRPr lang="fr-FR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26C942C-7F82-4845-F615-764B3C35353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7509" y="2162273"/>
            <a:ext cx="8852377" cy="4059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495323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5A98815-FA69-62F2-EADC-7F34BC5A4A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3C552D2-253C-F980-6E40-CBE24B05F34E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54B6964-37A6-D985-FA1E-B2B984CC4EFA}"/>
              </a:ext>
            </a:extLst>
          </p:cNvPr>
          <p:cNvSpPr/>
          <p:nvPr/>
        </p:nvSpPr>
        <p:spPr>
          <a:xfrm>
            <a:off x="532929" y="1403928"/>
            <a:ext cx="6244186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3DB41AED-B3BB-7D26-ED5F-E45A67734626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3E980AE-A147-6182-A405-483338829152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B003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02593C9A-2432-5BBD-ADD8-1CC8F3D756C3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i="1" dirty="0">
                <a:latin typeface="Aptos" panose="020B0004020202020204" pitchFamily="34" charset="0"/>
              </a:rPr>
              <a:t>B. Comprendre l’architecture de la gamme</a:t>
            </a:r>
            <a:endParaRPr lang="fr-FR" sz="2800" b="1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D7DBA42C-AD13-ADB3-8B5F-62DAB0EB070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A5C3E4D-5B9E-97E0-1FE8-98247F38DC40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 est le positionnement et la performance des différents produits proposés par Bombay chez Leclerc ? 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E8AE9D7-D897-4519-7937-C7F9604B6E4C}"/>
              </a:ext>
            </a:extLst>
          </p:cNvPr>
          <p:cNvSpPr txBox="1"/>
          <p:nvPr/>
        </p:nvSpPr>
        <p:spPr>
          <a:xfrm>
            <a:off x="898070" y="1563201"/>
            <a:ext cx="5679509" cy="525401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 dirty="0">
                <a:latin typeface="Aptos" panose="020B0004020202020204" pitchFamily="34" charset="0"/>
              </a:rPr>
              <a:t>Indice prix , distribution numérique (DN) et évolution de la DN</a:t>
            </a:r>
          </a:p>
          <a:p>
            <a:endParaRPr lang="fr-FR" sz="1400" dirty="0">
              <a:latin typeface="Aptos" panose="020B00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A23CC74-9FDC-C498-406A-1C63085F3580}"/>
              </a:ext>
            </a:extLst>
          </p:cNvPr>
          <p:cNvSpPr txBox="1"/>
          <p:nvPr/>
        </p:nvSpPr>
        <p:spPr>
          <a:xfrm>
            <a:off x="898070" y="1787741"/>
            <a:ext cx="5658082" cy="309958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>
                <a:latin typeface="Aptos" panose="020B0004020202020204" pitchFamily="34" charset="0"/>
              </a:rPr>
              <a:t>100 = prix de Gin Bombay Sapphire 70cl dans chaque magasin</a:t>
            </a:r>
            <a:endParaRPr lang="fr-FR" sz="1400" dirty="0">
              <a:latin typeface="Aptos" panose="020B0004020202020204" pitchFamily="34" charset="0"/>
            </a:endParaRPr>
          </a:p>
        </p:txBody>
      </p:sp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C346F8C0-213C-0D63-7C94-8A248F09CC2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37268382"/>
              </p:ext>
            </p:extLst>
          </p:nvPr>
        </p:nvGraphicFramePr>
        <p:xfrm>
          <a:off x="6998078" y="1993900"/>
          <a:ext cx="4922276" cy="4140200"/>
        </p:xfrm>
        <a:graphic>
          <a:graphicData uri="http://schemas.openxmlformats.org/drawingml/2006/table">
            <a:tbl>
              <a:tblPr/>
              <a:tblGrid>
                <a:gridCol w="470511">
                  <a:extLst>
                    <a:ext uri="{9D8B030D-6E8A-4147-A177-3AD203B41FA5}">
                      <a16:colId xmlns:a16="http://schemas.microsoft.com/office/drawing/2014/main" val="1070292848"/>
                    </a:ext>
                  </a:extLst>
                </a:gridCol>
                <a:gridCol w="1845854">
                  <a:extLst>
                    <a:ext uri="{9D8B030D-6E8A-4147-A177-3AD203B41FA5}">
                      <a16:colId xmlns:a16="http://schemas.microsoft.com/office/drawing/2014/main" val="3214196264"/>
                    </a:ext>
                  </a:extLst>
                </a:gridCol>
                <a:gridCol w="868637">
                  <a:extLst>
                    <a:ext uri="{9D8B030D-6E8A-4147-A177-3AD203B41FA5}">
                      <a16:colId xmlns:a16="http://schemas.microsoft.com/office/drawing/2014/main" val="3223849281"/>
                    </a:ext>
                  </a:extLst>
                </a:gridCol>
                <a:gridCol w="868637">
                  <a:extLst>
                    <a:ext uri="{9D8B030D-6E8A-4147-A177-3AD203B41FA5}">
                      <a16:colId xmlns:a16="http://schemas.microsoft.com/office/drawing/2014/main" val="1837650853"/>
                    </a:ext>
                  </a:extLst>
                </a:gridCol>
                <a:gridCol w="868637">
                  <a:extLst>
                    <a:ext uri="{9D8B030D-6E8A-4147-A177-3AD203B41FA5}">
                      <a16:colId xmlns:a16="http://schemas.microsoft.com/office/drawing/2014/main" val="1946880361"/>
                    </a:ext>
                  </a:extLst>
                </a:gridCol>
              </a:tblGrid>
              <a:tr h="457600"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rgbClr val="1B1C1F"/>
                          </a:solidFill>
                          <a:effectLst/>
                          <a:latin typeface="Aptos Black" panose="020B0004020202020204" pitchFamily="34" charset="0"/>
                        </a:rPr>
                        <a:t>ID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Point de vente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rgbClr val="868A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68A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3C5C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B1C1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fr-FR" sz="12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D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868A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68A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68A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3C5C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B1C1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fr-FR" sz="12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Évolution D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868A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68A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68A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3C5C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B1C1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fr-FR" sz="12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Indice prix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868A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68A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68A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3C5C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B1C1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0472422"/>
                  </a:ext>
                </a:extLst>
              </a:tr>
              <a:tr h="460325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tx2"/>
                          </a:solidFill>
                          <a:effectLst/>
                          <a:latin typeface="Aptos Black" panose="020B0004020202020204" pitchFamily="34" charset="0"/>
                        </a:rPr>
                        <a:t>0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Aptos Black" panose="020B0004020202020204" pitchFamily="34" charset="0"/>
                        </a:rPr>
                        <a:t>Gin Bombay </a:t>
                      </a:r>
                      <a:r>
                        <a:rPr lang="fr-FR" sz="1200" b="0" i="0" u="none" strike="noStrike" dirty="0" err="1">
                          <a:solidFill>
                            <a:schemeClr val="tx2"/>
                          </a:solidFill>
                          <a:effectLst/>
                          <a:latin typeface="Aptos Black" panose="020B0004020202020204" pitchFamily="34" charset="0"/>
                        </a:rPr>
                        <a:t>Sapphire</a:t>
                      </a:r>
                      <a:r>
                        <a:rPr lang="fr-FR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Aptos Black" panose="020B0004020202020204" pitchFamily="34" charset="0"/>
                        </a:rPr>
                        <a:t> 70cl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C3C5C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tx2"/>
                          </a:solidFill>
                          <a:effectLst/>
                          <a:latin typeface="Aptos Black" panose="020B0004020202020204" pitchFamily="34" charset="0"/>
                        </a:rPr>
                        <a:t>90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C3C5C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tx2"/>
                          </a:solidFill>
                          <a:effectLst/>
                          <a:latin typeface="Aptos Black" panose="020B0004020202020204" pitchFamily="34" charset="0"/>
                        </a:rPr>
                        <a:t>-0,5pp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C3C5C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Aptos Black" panose="020B0004020202020204" pitchFamily="34" charset="0"/>
                        </a:rPr>
                        <a:t>10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C3C5C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5402510"/>
                  </a:ext>
                </a:extLst>
              </a:tr>
              <a:tr h="460325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 Black" panose="020B0004020202020204" pitchFamily="34" charset="0"/>
                        </a:rPr>
                        <a:t>0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Bombay Citron Pressé 70cl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44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-6,2pp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10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27632739"/>
                  </a:ext>
                </a:extLst>
              </a:tr>
              <a:tr h="460325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 Black" panose="020B0004020202020204" pitchFamily="34" charset="0"/>
                        </a:rPr>
                        <a:t>0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Bombay Sapphire Sunset 70cl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18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-3,8pp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109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2448619"/>
                  </a:ext>
                </a:extLst>
              </a:tr>
              <a:tr h="460325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 Black" panose="020B0004020202020204" pitchFamily="34" charset="0"/>
                        </a:rPr>
                        <a:t>0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Bombay </a:t>
                      </a:r>
                      <a:r>
                        <a:rPr lang="fr-FR" sz="1200" b="0" i="0" u="none" strike="noStrike" dirty="0" err="1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Bramble</a:t>
                      </a:r>
                      <a:r>
                        <a:rPr lang="fr-FR" sz="1200" b="0" i="0" u="none" strike="noStrike" dirty="0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 70cl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9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-4,6pp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10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75395321"/>
                  </a:ext>
                </a:extLst>
              </a:tr>
              <a:tr h="460325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 Black" panose="020B0004020202020204" pitchFamily="34" charset="0"/>
                        </a:rPr>
                        <a:t>0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200" b="0" i="0" u="none" strike="noStrike" dirty="0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Gin Bombay Sapphire East 70cl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3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+0,8pp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13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4417950"/>
                  </a:ext>
                </a:extLst>
              </a:tr>
              <a:tr h="460325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>
                        <a:solidFill>
                          <a:srgbClr val="1B1C1F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70714150"/>
                  </a:ext>
                </a:extLst>
              </a:tr>
              <a:tr h="460325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>
                        <a:solidFill>
                          <a:srgbClr val="1B1C1F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67627585"/>
                  </a:ext>
                </a:extLst>
              </a:tr>
              <a:tr h="460325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>
                        <a:solidFill>
                          <a:srgbClr val="1B1C1F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68224692"/>
                  </a:ext>
                </a:extLst>
              </a:tr>
            </a:tbl>
          </a:graphicData>
        </a:graphic>
      </p:graphicFrame>
      <p:sp>
        <p:nvSpPr>
          <p:cNvPr id="17" name="TextBox 16">
            <a:extLst>
              <a:ext uri="{FF2B5EF4-FFF2-40B4-BE49-F238E27FC236}">
                <a16:creationId xmlns:a16="http://schemas.microsoft.com/office/drawing/2014/main" id="{A573EF4B-F824-32FD-3D45-AC364E8DE5B8}"/>
              </a:ext>
            </a:extLst>
          </p:cNvPr>
          <p:cNvSpPr txBox="1"/>
          <p:nvPr/>
        </p:nvSpPr>
        <p:spPr>
          <a:xfrm>
            <a:off x="6998079" y="1563201"/>
            <a:ext cx="4972958" cy="525401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>
                <a:latin typeface="Aptos" panose="020B0004020202020204" pitchFamily="34" charset="0"/>
              </a:rPr>
              <a:t>Légende (évolution entre 23 juin 2025 et 22 sept 2025)</a:t>
            </a:r>
          </a:p>
          <a:p>
            <a:endParaRPr lang="fr-FR" sz="1400" dirty="0">
              <a:latin typeface="Aptos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0E37D63F-5D59-409B-3DDA-FF0F72A4DB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25</a:t>
            </a:fld>
            <a:endParaRPr lang="fr-FR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D541BF9-9930-BA4E-08DF-131DA8C8C34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8072" y="2247875"/>
            <a:ext cx="5607974" cy="40677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133350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0D58B55-9492-7D6C-7649-491AB4ED488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A440306-01A5-D612-EFB5-E499E85466C0}"/>
              </a:ext>
            </a:extLst>
          </p:cNvPr>
          <p:cNvSpPr/>
          <p:nvPr/>
        </p:nvSpPr>
        <p:spPr>
          <a:xfrm>
            <a:off x="0" y="1403928"/>
            <a:ext cx="6091462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5CF3A7AF-E076-A378-CF51-38DDAA2EDB10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EED4478-EFD0-E055-E2B0-74E420F49FA3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B004 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E12CA1C8-7A49-C2A1-D999-28DA8B628851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b="1" dirty="0">
                <a:solidFill>
                  <a:schemeClr val="accent1"/>
                </a:solidFill>
                <a:latin typeface="Aptos" panose="020B0004020202020204" pitchFamily="34" charset="0"/>
              </a:rPr>
              <a:t>Cas n°1 </a:t>
            </a:r>
            <a:r>
              <a:rPr lang="fr-FR" sz="1600" b="1" dirty="0">
                <a:solidFill>
                  <a:schemeClr val="bg1">
                    <a:lumMod val="85000"/>
                  </a:schemeClr>
                </a:solidFill>
                <a:latin typeface="Aptos" panose="020B0004020202020204" pitchFamily="34" charset="0"/>
              </a:rPr>
              <a:t>|</a:t>
            </a:r>
            <a:r>
              <a:rPr lang="fr-FR" sz="1600" dirty="0">
                <a:latin typeface="Aptos" panose="020B0004020202020204" pitchFamily="34" charset="0"/>
              </a:rPr>
              <a:t> </a:t>
            </a:r>
            <a:r>
              <a:rPr kumimoji="0" lang="fr-FR" sz="1600" b="0" i="1" u="none" strike="noStrike" kern="1200" cap="none" spc="0" normalizeH="0" baseline="0" noProof="0" dirty="0">
                <a:ln>
                  <a:noFill/>
                </a:ln>
                <a:solidFill>
                  <a:srgbClr val="1B1C1F">
                    <a:lumMod val="90000"/>
                    <a:lumOff val="10000"/>
                  </a:srgbClr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quérir les bons magasins</a:t>
            </a:r>
            <a:endParaRPr lang="fr-FR" sz="2800" i="1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1F1F3B91-FAA1-D9EB-68CD-D080D1C3914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23089726-2405-19D6-3EF8-BE81CABDB039}"/>
              </a:ext>
            </a:extLst>
          </p:cNvPr>
          <p:cNvSpPr txBox="1"/>
          <p:nvPr/>
        </p:nvSpPr>
        <p:spPr>
          <a:xfrm>
            <a:off x="898070" y="492774"/>
            <a:ext cx="4635831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Quel potentiel représentent les magasins non adressés ? </a:t>
            </a:r>
          </a:p>
        </p:txBody>
      </p:sp>
      <p:pic>
        <p:nvPicPr>
          <p:cNvPr id="12" name="Picture 11" descr="Chess pieces">
            <a:extLst>
              <a:ext uri="{FF2B5EF4-FFF2-40B4-BE49-F238E27FC236}">
                <a16:creationId xmlns:a16="http://schemas.microsoft.com/office/drawing/2014/main" id="{F583BA68-47CE-0369-3AEF-3D53C7B8D1A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59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58980" t="1" r="1" b="2169"/>
          <a:stretch/>
        </p:blipFill>
        <p:spPr>
          <a:xfrm>
            <a:off x="6095996" y="0"/>
            <a:ext cx="6096004" cy="685800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36583266-80B3-9649-5FAD-DC96CEE23C2F}"/>
              </a:ext>
            </a:extLst>
          </p:cNvPr>
          <p:cNvSpPr/>
          <p:nvPr/>
        </p:nvSpPr>
        <p:spPr>
          <a:xfrm>
            <a:off x="6096003" y="0"/>
            <a:ext cx="6095998" cy="6858000"/>
          </a:xfrm>
          <a:prstGeom prst="rect">
            <a:avLst/>
          </a:prstGeom>
          <a:solidFill>
            <a:srgbClr val="303237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87DD94BE-E6F5-F05B-9B9C-C80026083397}"/>
              </a:ext>
            </a:extLst>
          </p:cNvPr>
          <p:cNvGrpSpPr/>
          <p:nvPr/>
        </p:nvGrpSpPr>
        <p:grpSpPr>
          <a:xfrm>
            <a:off x="6594305" y="491349"/>
            <a:ext cx="5302520" cy="833178"/>
            <a:chOff x="6594305" y="491349"/>
            <a:chExt cx="5302520" cy="833178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63A16094-B5D7-8B27-2AE7-0E44A25022BD}"/>
                </a:ext>
              </a:extLst>
            </p:cNvPr>
            <p:cNvSpPr txBox="1"/>
            <p:nvPr/>
          </p:nvSpPr>
          <p:spPr>
            <a:xfrm>
              <a:off x="6988318" y="491349"/>
              <a:ext cx="4908507" cy="833178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2400" b="1">
                  <a:solidFill>
                    <a:schemeClr val="bg1"/>
                  </a:solidFill>
                  <a:latin typeface="Aptos Black" panose="020B0004020202020204" pitchFamily="34" charset="0"/>
                </a:rPr>
                <a:t>Adresser ces 10 magasins augmenterait le CA de ~1%</a:t>
              </a:r>
              <a:endParaRPr lang="fr-FR" sz="2800" b="1" dirty="0">
                <a:solidFill>
                  <a:schemeClr val="bg1"/>
                </a:solidFill>
                <a:latin typeface="Aptos Black" panose="020B0004020202020204" pitchFamily="34" charset="0"/>
              </a:endParaRPr>
            </a:p>
          </p:txBody>
        </p:sp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5446378C-22EC-5850-F886-36154A057B3A}"/>
                </a:ext>
              </a:extLst>
            </p:cNvPr>
            <p:cNvSpPr/>
            <p:nvPr/>
          </p:nvSpPr>
          <p:spPr>
            <a:xfrm>
              <a:off x="6594305" y="611296"/>
              <a:ext cx="226904" cy="226904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en-US" sz="1600" b="1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7914B67C-E3CA-C1BA-57EC-0F611CC2C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599" y="6356350"/>
            <a:ext cx="3220595" cy="365125"/>
          </a:xfrm>
        </p:spPr>
        <p:txBody>
          <a:bodyPr/>
          <a:lstStyle/>
          <a:p>
            <a:fld id="{22EF78A9-82AA-4C6F-AD45-43DF650E2802}" type="slidenum">
              <a:rPr lang="fr-FR" smtClean="0">
                <a:solidFill>
                  <a:schemeClr val="bg1"/>
                </a:solidFill>
              </a:rPr>
              <a:t>26</a:t>
            </a:fld>
            <a:endParaRPr lang="fr-FR" dirty="0">
              <a:solidFill>
                <a:schemeClr val="bg1"/>
              </a:solidFill>
            </a:endParaRPr>
          </a:p>
        </p:txBody>
      </p:sp>
      <p:pic>
        <p:nvPicPr>
          <p:cNvPr id="18" name="Picture 17" descr="A black and white logo&#10;&#10;AI-generated content may be incorrect.">
            <a:extLst>
              <a:ext uri="{FF2B5EF4-FFF2-40B4-BE49-F238E27FC236}">
                <a16:creationId xmlns:a16="http://schemas.microsoft.com/office/drawing/2014/main" id="{430DD138-7B62-8011-42F6-C0475F157E7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6582" y="90715"/>
            <a:ext cx="1475418" cy="396832"/>
          </a:xfrm>
          <a:prstGeom prst="rect">
            <a:avLst/>
          </a:prstGeom>
        </p:spPr>
      </p:pic>
      <p:graphicFrame>
        <p:nvGraphicFramePr>
          <p:cNvPr id="19" name="Table 18">
            <a:extLst>
              <a:ext uri="{FF2B5EF4-FFF2-40B4-BE49-F238E27FC236}">
                <a16:creationId xmlns:a16="http://schemas.microsoft.com/office/drawing/2014/main" id="{7F5B4C8B-4CAC-999C-49B5-CD1F7D3530A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43570356"/>
              </p:ext>
            </p:extLst>
          </p:nvPr>
        </p:nvGraphicFramePr>
        <p:xfrm>
          <a:off x="6510867" y="1482475"/>
          <a:ext cx="5321319" cy="4828295"/>
        </p:xfrm>
        <a:graphic>
          <a:graphicData uri="http://schemas.openxmlformats.org/drawingml/2006/table">
            <a:tbl>
              <a:tblPr firstRow="1" bandRow="1">
                <a:effectLst>
                  <a:outerShdw blurRad="101600" sx="102000" sy="102000" algn="ctr" rotWithShape="0">
                    <a:schemeClr val="bg1">
                      <a:alpha val="20000"/>
                    </a:schemeClr>
                  </a:outerShdw>
                </a:effectLst>
                <a:tableStyleId>{073A0DAA-6AF3-43AB-8588-CEC1D06C72B9}</a:tableStyleId>
              </a:tblPr>
              <a:tblGrid>
                <a:gridCol w="443150">
                  <a:extLst>
                    <a:ext uri="{9D8B030D-6E8A-4147-A177-3AD203B41FA5}">
                      <a16:colId xmlns:a16="http://schemas.microsoft.com/office/drawing/2014/main" val="4057496431"/>
                    </a:ext>
                  </a:extLst>
                </a:gridCol>
                <a:gridCol w="1978227">
                  <a:extLst>
                    <a:ext uri="{9D8B030D-6E8A-4147-A177-3AD203B41FA5}">
                      <a16:colId xmlns:a16="http://schemas.microsoft.com/office/drawing/2014/main" val="4090359126"/>
                    </a:ext>
                  </a:extLst>
                </a:gridCol>
                <a:gridCol w="577516">
                  <a:extLst>
                    <a:ext uri="{9D8B030D-6E8A-4147-A177-3AD203B41FA5}">
                      <a16:colId xmlns:a16="http://schemas.microsoft.com/office/drawing/2014/main" val="1400896486"/>
                    </a:ext>
                  </a:extLst>
                </a:gridCol>
                <a:gridCol w="774142">
                  <a:extLst>
                    <a:ext uri="{9D8B030D-6E8A-4147-A177-3AD203B41FA5}">
                      <a16:colId xmlns:a16="http://schemas.microsoft.com/office/drawing/2014/main" val="3900701974"/>
                    </a:ext>
                  </a:extLst>
                </a:gridCol>
                <a:gridCol w="774142">
                  <a:extLst>
                    <a:ext uri="{9D8B030D-6E8A-4147-A177-3AD203B41FA5}">
                      <a16:colId xmlns:a16="http://schemas.microsoft.com/office/drawing/2014/main" val="3124996572"/>
                    </a:ext>
                  </a:extLst>
                </a:gridCol>
                <a:gridCol w="774142">
                  <a:extLst>
                    <a:ext uri="{9D8B030D-6E8A-4147-A177-3AD203B41FA5}">
                      <a16:colId xmlns:a16="http://schemas.microsoft.com/office/drawing/2014/main" val="557721351"/>
                    </a:ext>
                  </a:extLst>
                </a:gridCol>
              </a:tblGrid>
              <a:tr h="376675">
                <a:tc>
                  <a:txBody>
                    <a:bodyPr/>
                    <a:lstStyle/>
                    <a:p>
                      <a:pPr algn="ctr"/>
                      <a:r>
                        <a:rPr lang="fr-FR" sz="1100" dirty="0">
                          <a:solidFill>
                            <a:schemeClr val="bg1"/>
                          </a:solidFill>
                          <a:latin typeface="Aptos Black" panose="020B0004020202020204" pitchFamily="34" charset="0"/>
                        </a:rPr>
                        <a:t>Score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dirty="0"/>
                        <a:t>Point de vente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dirty="0"/>
                        <a:t>Code </a:t>
                      </a:r>
                    </a:p>
                    <a:p>
                      <a:pPr algn="ctr"/>
                      <a:r>
                        <a:rPr lang="fr-FR" sz="1100" dirty="0"/>
                        <a:t>post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dirty="0"/>
                        <a:t>Dernière observatio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dirty="0"/>
                        <a:t>Nombre de spiritueux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/>
                        <a:t>Nombre de Gin</a:t>
                      </a:r>
                      <a:endParaRPr lang="fr-FR" sz="1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34086938"/>
                  </a:ext>
                </a:extLst>
              </a:tr>
              <a:tr h="445162"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chemeClr val="bg1"/>
                          </a:solidFill>
                          <a:effectLst/>
                          <a:latin typeface="Aptos Black" panose="020B0004020202020204" pitchFamily="34" charset="0"/>
                        </a:rPr>
                        <a:t>75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eclerc - Saint-Dizier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</a:rPr>
                        <a:t>52100</a:t>
                      </a:r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</a:rPr>
                        <a:t>Aucune observation</a:t>
                      </a:r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07232"/>
                  </a:ext>
                </a:extLst>
              </a:tr>
              <a:tr h="445162"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chemeClr val="bg1"/>
                          </a:solidFill>
                          <a:effectLst/>
                          <a:latin typeface="Aptos Black" panose="020B0004020202020204" pitchFamily="34" charset="0"/>
                        </a:rPr>
                        <a:t>64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eclerc - Longvic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</a:rPr>
                        <a:t>21600</a:t>
                      </a:r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</a:rPr>
                        <a:t>Aucune observation</a:t>
                      </a:r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2952750"/>
                  </a:ext>
                </a:extLst>
              </a:tr>
              <a:tr h="445162"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chemeClr val="bg1"/>
                          </a:solidFill>
                          <a:effectLst/>
                          <a:latin typeface="Aptos Black" panose="020B0004020202020204" pitchFamily="34" charset="0"/>
                        </a:rPr>
                        <a:t>63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eclerc - Saint-Quentin-Fallavier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</a:rPr>
                        <a:t>38070</a:t>
                      </a:r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</a:rPr>
                        <a:t>Aucune observation</a:t>
                      </a:r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1546981"/>
                  </a:ext>
                </a:extLst>
              </a:tr>
              <a:tr h="445162"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chemeClr val="bg1">
                              <a:lumMod val="85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56</a:t>
                      </a:r>
                      <a:endParaRPr lang="en-US" sz="1200" b="0" i="0" u="none" strike="noStrike" dirty="0">
                        <a:solidFill>
                          <a:schemeClr val="bg1">
                            <a:lumMod val="85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eclerc - Haudainville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</a:rPr>
                        <a:t>55100</a:t>
                      </a:r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</a:rPr>
                        <a:t>Aucune observation</a:t>
                      </a:r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3138766"/>
                  </a:ext>
                </a:extLst>
              </a:tr>
              <a:tr h="445162"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chemeClr val="bg1">
                              <a:lumMod val="85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56</a:t>
                      </a:r>
                      <a:endParaRPr lang="en-US" sz="1200" b="0" i="0" u="none" strike="noStrike" dirty="0">
                        <a:solidFill>
                          <a:schemeClr val="bg1">
                            <a:lumMod val="85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eclerc - Saint-Mihiel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</a:rPr>
                        <a:t>55300</a:t>
                      </a:r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</a:rPr>
                        <a:t>Aucune observation</a:t>
                      </a:r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658272"/>
                  </a:ext>
                </a:extLst>
              </a:tr>
              <a:tr h="445162"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chemeClr val="bg1">
                              <a:lumMod val="85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56</a:t>
                      </a:r>
                      <a:endParaRPr lang="en-US" sz="1200" b="0" i="0" u="none" strike="noStrike" dirty="0">
                        <a:solidFill>
                          <a:schemeClr val="bg1">
                            <a:lumMod val="85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eclerc - Verdun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</a:rPr>
                        <a:t>55100</a:t>
                      </a:r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</a:rPr>
                        <a:t>Aucune observation</a:t>
                      </a:r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8109527"/>
                  </a:ext>
                </a:extLst>
              </a:tr>
              <a:tr h="445162"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51</a:t>
                      </a:r>
                      <a:endParaRPr lang="en-US" sz="1200" b="0" i="0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eclerc - Barbezieux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</a:rPr>
                        <a:t>16300</a:t>
                      </a:r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</a:rPr>
                        <a:t>Aucune observation</a:t>
                      </a:r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079238"/>
                  </a:ext>
                </a:extLst>
              </a:tr>
              <a:tr h="445162"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48</a:t>
                      </a:r>
                      <a:endParaRPr lang="en-US" sz="1200" b="0" i="0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eclerc - Bar-sur-Aube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</a:rPr>
                        <a:t>10200</a:t>
                      </a:r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</a:rPr>
                        <a:t>Aucune observation</a:t>
                      </a:r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0060975"/>
                  </a:ext>
                </a:extLst>
              </a:tr>
              <a:tr h="445162"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47</a:t>
                      </a:r>
                      <a:endParaRPr lang="en-US" sz="1200" b="0" i="0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eclerc - Oulins / Anet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</a:rPr>
                        <a:t>28260</a:t>
                      </a:r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</a:rPr>
                        <a:t>Aucune observation</a:t>
                      </a:r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978177"/>
                  </a:ext>
                </a:extLst>
              </a:tr>
              <a:tr h="445162"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47</a:t>
                      </a:r>
                      <a:endParaRPr lang="en-US" sz="1200" b="0" i="0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eclerc - Peronne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</a:rPr>
                        <a:t>80200</a:t>
                      </a:r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</a:rPr>
                        <a:t>Aucune observation</a:t>
                      </a:r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5199767"/>
                  </a:ext>
                </a:extLst>
              </a:tr>
            </a:tbl>
          </a:graphicData>
        </a:graphic>
      </p:graphicFrame>
      <p:pic>
        <p:nvPicPr>
          <p:cNvPr id="20" name="Picture 4" descr="Logo Microsoft Excel – Logos PNG">
            <a:extLst>
              <a:ext uri="{FF2B5EF4-FFF2-40B4-BE49-F238E27FC236}">
                <a16:creationId xmlns:a16="http://schemas.microsoft.com/office/drawing/2014/main" id="{DFDA3B64-0D42-F928-D278-B5F912B289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1696" y="6408230"/>
            <a:ext cx="329454" cy="3294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2C065CBB-654C-7514-31D7-062C66E50542}"/>
              </a:ext>
            </a:extLst>
          </p:cNvPr>
          <p:cNvSpPr/>
          <p:nvPr/>
        </p:nvSpPr>
        <p:spPr>
          <a:xfrm>
            <a:off x="7365554" y="6405694"/>
            <a:ext cx="1706553" cy="3222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000" b="1" dirty="0"/>
              <a:t>Liste complète</a:t>
            </a: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41863285-25F0-8576-C01B-62469A62FCEE}"/>
              </a:ext>
            </a:extLst>
          </p:cNvPr>
          <p:cNvGrpSpPr/>
          <p:nvPr/>
        </p:nvGrpSpPr>
        <p:grpSpPr>
          <a:xfrm>
            <a:off x="409367" y="2403407"/>
            <a:ext cx="3612959" cy="3612959"/>
            <a:chOff x="783660" y="2021705"/>
            <a:chExt cx="3994662" cy="3994662"/>
          </a:xfrm>
        </p:grpSpPr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662A6C76-623A-2361-F321-FDFA13A3EA05}"/>
                </a:ext>
              </a:extLst>
            </p:cNvPr>
            <p:cNvSpPr/>
            <p:nvPr/>
          </p:nvSpPr>
          <p:spPr>
            <a:xfrm>
              <a:off x="783660" y="2021705"/>
              <a:ext cx="3994662" cy="3994662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fr-FR" sz="1600" b="1" noProof="0" dirty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EF50DCCF-B4FB-A3AA-A220-EB0677AAEC2B}"/>
                </a:ext>
              </a:extLst>
            </p:cNvPr>
            <p:cNvSpPr/>
            <p:nvPr/>
          </p:nvSpPr>
          <p:spPr>
            <a:xfrm>
              <a:off x="1402119" y="3258621"/>
              <a:ext cx="2757746" cy="2757746"/>
            </a:xfrm>
            <a:prstGeom prst="ellipse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fr-FR" sz="1600" b="1" noProof="0" dirty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50D90D16-1E7F-24DC-AD82-5E8BFD7C3E72}"/>
                </a:ext>
              </a:extLst>
            </p:cNvPr>
            <p:cNvSpPr/>
            <p:nvPr/>
          </p:nvSpPr>
          <p:spPr>
            <a:xfrm>
              <a:off x="2040658" y="4532982"/>
              <a:ext cx="1480666" cy="1480666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252000" rtlCol="0" anchor="ctr"/>
            <a:lstStyle/>
            <a:p>
              <a:pPr algn="ctr"/>
              <a:r>
                <a:rPr lang="fr-FR" sz="2800" b="1" noProof="0">
                  <a:solidFill>
                    <a:schemeClr val="bg1"/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1</a:t>
              </a:r>
              <a:endParaRPr lang="fr-FR" sz="2800" b="1" noProof="0" dirty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0D6CAC21-0AC9-72DA-2516-DA4BA34C5B13}"/>
                </a:ext>
              </a:extLst>
            </p:cNvPr>
            <p:cNvSpPr/>
            <p:nvPr/>
          </p:nvSpPr>
          <p:spPr>
            <a:xfrm>
              <a:off x="1666514" y="3610553"/>
              <a:ext cx="2228954" cy="34900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fr-FR" sz="2800" b="1" noProof="0">
                  <a:solidFill>
                    <a:schemeClr val="tx2"/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10</a:t>
              </a:r>
              <a:endParaRPr lang="fr-FR" sz="2800" b="1" noProof="0" dirty="0">
                <a:solidFill>
                  <a:schemeClr val="accent3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6AC7DE0D-DCF1-1416-514B-2339AC27BD2D}"/>
                </a:ext>
              </a:extLst>
            </p:cNvPr>
            <p:cNvSpPr/>
            <p:nvPr/>
          </p:nvSpPr>
          <p:spPr>
            <a:xfrm>
              <a:off x="1666514" y="2336150"/>
              <a:ext cx="2228954" cy="34900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fr-FR" sz="2800" b="1" noProof="0">
                  <a:solidFill>
                    <a:schemeClr val="tx2">
                      <a:lumMod val="60000"/>
                      <a:lumOff val="40000"/>
                    </a:schemeClr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18</a:t>
              </a:r>
              <a:endParaRPr lang="fr-FR" sz="2800" b="1" noProof="0" dirty="0">
                <a:solidFill>
                  <a:schemeClr val="tx2">
                    <a:lumMod val="60000"/>
                    <a:lumOff val="40000"/>
                  </a:schemeClr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sp>
        <p:nvSpPr>
          <p:cNvPr id="49" name="Rectangle: Rounded Corners 48">
            <a:extLst>
              <a:ext uri="{FF2B5EF4-FFF2-40B4-BE49-F238E27FC236}">
                <a16:creationId xmlns:a16="http://schemas.microsoft.com/office/drawing/2014/main" id="{EDAA7CAC-9F1C-7DCF-7F7F-049C3222B387}"/>
              </a:ext>
            </a:extLst>
          </p:cNvPr>
          <p:cNvSpPr/>
          <p:nvPr/>
        </p:nvSpPr>
        <p:spPr>
          <a:xfrm>
            <a:off x="4014249" y="5437746"/>
            <a:ext cx="1776388" cy="641928"/>
          </a:xfrm>
          <a:prstGeom prst="roundRect">
            <a:avLst/>
          </a:prstGeom>
          <a:solidFill>
            <a:srgbClr val="20307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sz="1600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50" name="Graphic 49" descr="Plant with solid fill">
            <a:extLst>
              <a:ext uri="{FF2B5EF4-FFF2-40B4-BE49-F238E27FC236}">
                <a16:creationId xmlns:a16="http://schemas.microsoft.com/office/drawing/2014/main" id="{62A591D0-B27B-2F6C-AD5A-3D284E92F19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957547" y="5525029"/>
            <a:ext cx="613713" cy="613713"/>
          </a:xfrm>
          <a:prstGeom prst="rect">
            <a:avLst/>
          </a:prstGeom>
        </p:spPr>
      </p:pic>
      <p:sp>
        <p:nvSpPr>
          <p:cNvPr id="51" name="Rectangle 50">
            <a:extLst>
              <a:ext uri="{FF2B5EF4-FFF2-40B4-BE49-F238E27FC236}">
                <a16:creationId xmlns:a16="http://schemas.microsoft.com/office/drawing/2014/main" id="{43B55932-D351-0724-FE76-6A99E443E644}"/>
              </a:ext>
            </a:extLst>
          </p:cNvPr>
          <p:cNvSpPr/>
          <p:nvPr/>
        </p:nvSpPr>
        <p:spPr>
          <a:xfrm>
            <a:off x="4555392" y="5489308"/>
            <a:ext cx="1174416" cy="3222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2000" b="1" noProof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+0,2%</a:t>
            </a:r>
            <a:endParaRPr lang="fr-FR" sz="2000" b="1" noProof="0" dirty="0">
              <a:solidFill>
                <a:schemeClr val="bg1"/>
              </a:solidFill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4" name="Rectangle: Rounded Corners 53">
            <a:extLst>
              <a:ext uri="{FF2B5EF4-FFF2-40B4-BE49-F238E27FC236}">
                <a16:creationId xmlns:a16="http://schemas.microsoft.com/office/drawing/2014/main" id="{BB4C6962-0A49-3726-F1E3-46116E330231}"/>
              </a:ext>
            </a:extLst>
          </p:cNvPr>
          <p:cNvSpPr/>
          <p:nvPr/>
        </p:nvSpPr>
        <p:spPr>
          <a:xfrm>
            <a:off x="4112176" y="2973980"/>
            <a:ext cx="1776388" cy="641928"/>
          </a:xfrm>
          <a:prstGeom prst="roundRect">
            <a:avLst/>
          </a:prstGeom>
          <a:solidFill>
            <a:srgbClr val="8F9DE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sz="1600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55" name="Graphic 54" descr="Plant with solid fill">
            <a:extLst>
              <a:ext uri="{FF2B5EF4-FFF2-40B4-BE49-F238E27FC236}">
                <a16:creationId xmlns:a16="http://schemas.microsoft.com/office/drawing/2014/main" id="{1AC39694-602E-9419-71F5-3D4238DE8EA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055474" y="3061263"/>
            <a:ext cx="613713" cy="613713"/>
          </a:xfrm>
          <a:prstGeom prst="rect">
            <a:avLst/>
          </a:prstGeom>
        </p:spPr>
      </p:pic>
      <p:sp>
        <p:nvSpPr>
          <p:cNvPr id="56" name="Rectangle 55">
            <a:extLst>
              <a:ext uri="{FF2B5EF4-FFF2-40B4-BE49-F238E27FC236}">
                <a16:creationId xmlns:a16="http://schemas.microsoft.com/office/drawing/2014/main" id="{01A876BE-9D98-D95D-5B5C-DAEE6FDABFFD}"/>
              </a:ext>
            </a:extLst>
          </p:cNvPr>
          <p:cNvSpPr/>
          <p:nvPr/>
        </p:nvSpPr>
        <p:spPr>
          <a:xfrm>
            <a:off x="4653319" y="3025542"/>
            <a:ext cx="1174416" cy="3222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2000" b="1" noProof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+1,4%</a:t>
            </a:r>
            <a:endParaRPr lang="fr-FR" sz="2000" b="1" noProof="0" dirty="0">
              <a:solidFill>
                <a:schemeClr val="bg1"/>
              </a:solidFill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8" name="Rectangle: Rounded Corners 57">
            <a:extLst>
              <a:ext uri="{FF2B5EF4-FFF2-40B4-BE49-F238E27FC236}">
                <a16:creationId xmlns:a16="http://schemas.microsoft.com/office/drawing/2014/main" id="{204531CC-77BF-5707-58C0-6ABF38CD594D}"/>
              </a:ext>
            </a:extLst>
          </p:cNvPr>
          <p:cNvSpPr/>
          <p:nvPr/>
        </p:nvSpPr>
        <p:spPr>
          <a:xfrm>
            <a:off x="1356003" y="1558574"/>
            <a:ext cx="1776388" cy="641928"/>
          </a:xfrm>
          <a:prstGeom prst="roundRect">
            <a:avLst/>
          </a:prstGeom>
          <a:solidFill>
            <a:srgbClr val="C7CEF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sz="1600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59" name="Graphic 58" descr="Plant with solid fill">
            <a:extLst>
              <a:ext uri="{FF2B5EF4-FFF2-40B4-BE49-F238E27FC236}">
                <a16:creationId xmlns:a16="http://schemas.microsoft.com/office/drawing/2014/main" id="{1F44A3A7-102D-74F3-5788-31E1A217B12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299301" y="1645857"/>
            <a:ext cx="613713" cy="613713"/>
          </a:xfrm>
          <a:prstGeom prst="rect">
            <a:avLst/>
          </a:prstGeom>
        </p:spPr>
      </p:pic>
      <p:sp>
        <p:nvSpPr>
          <p:cNvPr id="60" name="Rectangle 59">
            <a:extLst>
              <a:ext uri="{FF2B5EF4-FFF2-40B4-BE49-F238E27FC236}">
                <a16:creationId xmlns:a16="http://schemas.microsoft.com/office/drawing/2014/main" id="{FACC9E43-D0ED-138B-DB2B-069F42B063C4}"/>
              </a:ext>
            </a:extLst>
          </p:cNvPr>
          <p:cNvSpPr/>
          <p:nvPr/>
        </p:nvSpPr>
        <p:spPr>
          <a:xfrm>
            <a:off x="1897146" y="1610136"/>
            <a:ext cx="1174416" cy="3222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2000" b="1" noProof="0">
                <a:solidFill>
                  <a:schemeClr val="tx2">
                    <a:lumMod val="60000"/>
                    <a:lumOff val="40000"/>
                  </a:schemeClr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+2,1%</a:t>
            </a:r>
            <a:endParaRPr lang="fr-FR" sz="2000" b="1" noProof="0" dirty="0">
              <a:solidFill>
                <a:schemeClr val="tx2">
                  <a:lumMod val="60000"/>
                  <a:lumOff val="40000"/>
                </a:schemeClr>
              </a:solidFill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cxnSp>
        <p:nvCxnSpPr>
          <p:cNvPr id="62" name="Connector: Elbow 61">
            <a:extLst>
              <a:ext uri="{FF2B5EF4-FFF2-40B4-BE49-F238E27FC236}">
                <a16:creationId xmlns:a16="http://schemas.microsoft.com/office/drawing/2014/main" id="{98F07168-36BD-2A2F-80BF-FD831D600138}"/>
              </a:ext>
            </a:extLst>
          </p:cNvPr>
          <p:cNvCxnSpPr>
            <a:cxnSpLocks/>
            <a:stCxn id="49" idx="1"/>
            <a:endCxn id="44" idx="6"/>
          </p:cNvCxnSpPr>
          <p:nvPr/>
        </p:nvCxnSpPr>
        <p:spPr>
          <a:xfrm rot="10800000">
            <a:off x="2885439" y="5344316"/>
            <a:ext cx="1128810" cy="414395"/>
          </a:xfrm>
          <a:prstGeom prst="bentConnector3">
            <a:avLst>
              <a:gd name="adj1" fmla="val 50000"/>
            </a:avLst>
          </a:prstGeom>
          <a:ln w="38100">
            <a:solidFill>
              <a:schemeClr val="tx2">
                <a:lumMod val="50000"/>
              </a:schemeClr>
            </a:solidFill>
            <a:prstDash val="sysDot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33" name="Connector: Elbow 1032">
            <a:extLst>
              <a:ext uri="{FF2B5EF4-FFF2-40B4-BE49-F238E27FC236}">
                <a16:creationId xmlns:a16="http://schemas.microsoft.com/office/drawing/2014/main" id="{87FA2A8D-4637-A085-4DAF-20CAC2464203}"/>
              </a:ext>
            </a:extLst>
          </p:cNvPr>
          <p:cNvCxnSpPr>
            <a:cxnSpLocks/>
            <a:stCxn id="54" idx="1"/>
            <a:endCxn id="43" idx="6"/>
          </p:cNvCxnSpPr>
          <p:nvPr/>
        </p:nvCxnSpPr>
        <p:spPr>
          <a:xfrm rot="10800000" flipV="1">
            <a:off x="3462964" y="3294943"/>
            <a:ext cx="649212" cy="1474305"/>
          </a:xfrm>
          <a:prstGeom prst="bentConnector3">
            <a:avLst>
              <a:gd name="adj1" fmla="val 50000"/>
            </a:avLst>
          </a:prstGeom>
          <a:ln w="38100">
            <a:solidFill>
              <a:srgbClr val="8F9DE2"/>
            </a:solidFill>
            <a:prstDash val="sysDot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38" name="Connector: Elbow 1037">
            <a:extLst>
              <a:ext uri="{FF2B5EF4-FFF2-40B4-BE49-F238E27FC236}">
                <a16:creationId xmlns:a16="http://schemas.microsoft.com/office/drawing/2014/main" id="{B2B33545-A310-5E10-264B-E9B07258605E}"/>
              </a:ext>
            </a:extLst>
          </p:cNvPr>
          <p:cNvCxnSpPr>
            <a:cxnSpLocks/>
            <a:stCxn id="58" idx="1"/>
            <a:endCxn id="42" idx="1"/>
          </p:cNvCxnSpPr>
          <p:nvPr/>
        </p:nvCxnSpPr>
        <p:spPr>
          <a:xfrm rot="10800000" flipV="1">
            <a:off x="938473" y="1879537"/>
            <a:ext cx="417530" cy="1052975"/>
          </a:xfrm>
          <a:prstGeom prst="bentConnector2">
            <a:avLst/>
          </a:prstGeom>
          <a:ln w="38100">
            <a:solidFill>
              <a:srgbClr val="C7CEF1"/>
            </a:solidFill>
            <a:prstDash val="sysDot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41" name="Rectangle 1040">
            <a:extLst>
              <a:ext uri="{FF2B5EF4-FFF2-40B4-BE49-F238E27FC236}">
                <a16:creationId xmlns:a16="http://schemas.microsoft.com/office/drawing/2014/main" id="{6DD86279-22E5-FF12-EC96-D6D13E2A4BDC}"/>
              </a:ext>
            </a:extLst>
          </p:cNvPr>
          <p:cNvSpPr/>
          <p:nvPr/>
        </p:nvSpPr>
        <p:spPr>
          <a:xfrm>
            <a:off x="3475920" y="1582624"/>
            <a:ext cx="2412644" cy="101840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r"/>
            <a:r>
              <a:rPr lang="fr-FR" sz="1400" b="1">
                <a:solidFill>
                  <a:schemeClr val="tx1">
                    <a:lumMod val="90000"/>
                    <a:lumOff val="10000"/>
                  </a:schemeClr>
                </a:solidFill>
              </a:rPr>
              <a:t>Interprétation :</a:t>
            </a:r>
          </a:p>
          <a:p>
            <a:pPr algn="r"/>
            <a:r>
              <a:rPr lang="fr-FR" sz="1400" b="1">
                <a:solidFill>
                  <a:schemeClr val="tx1">
                    <a:lumMod val="90000"/>
                    <a:lumOff val="10000"/>
                  </a:schemeClr>
                </a:solidFill>
              </a:rPr>
              <a:t>Hausse potentiel du CA chez Leclerc en cas de capture de 100% des magasins d’un périmètre.</a:t>
            </a:r>
            <a:endParaRPr lang="fr-FR" sz="1400" i="1" dirty="0">
              <a:solidFill>
                <a:schemeClr val="tx1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3" name="Speech Bubble: Rectangle 2">
            <a:extLst>
              <a:ext uri="{FF2B5EF4-FFF2-40B4-BE49-F238E27FC236}">
                <a16:creationId xmlns:a16="http://schemas.microsoft.com/office/drawing/2014/main" id="{C08CBF93-A541-B9A1-A595-305876852B39}"/>
              </a:ext>
            </a:extLst>
          </p:cNvPr>
          <p:cNvSpPr/>
          <p:nvPr/>
        </p:nvSpPr>
        <p:spPr>
          <a:xfrm>
            <a:off x="155083" y="5637702"/>
            <a:ext cx="1557001" cy="605859"/>
          </a:xfrm>
          <a:prstGeom prst="wedgeRectCallout">
            <a:avLst>
              <a:gd name="adj1" fmla="val 38350"/>
              <a:gd name="adj2" fmla="val -71717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1200" noProof="0">
                <a:solidFill>
                  <a:schemeClr val="bg1">
                    <a:lumMod val="5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Aucun produit Bombay vendu sur les 3 derniers mois.</a:t>
            </a:r>
            <a:endParaRPr lang="fr-FR" sz="1200" noProof="0" dirty="0">
              <a:solidFill>
                <a:schemeClr val="bg1">
                  <a:lumMod val="5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124CD16-7378-5BE1-3ADB-9CAE5A976907}"/>
              </a:ext>
            </a:extLst>
          </p:cNvPr>
          <p:cNvSpPr/>
          <p:nvPr/>
        </p:nvSpPr>
        <p:spPr>
          <a:xfrm>
            <a:off x="1602725" y="5440760"/>
            <a:ext cx="1226243" cy="4143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r>
              <a:rPr lang="fr-FR" sz="1400" i="1" noProof="0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Océan bleu</a:t>
            </a:r>
          </a:p>
          <a:p>
            <a:pPr algn="ctr"/>
            <a:r>
              <a:rPr lang="fr-FR" sz="1400" b="1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A</a:t>
            </a:r>
            <a:endParaRPr lang="fr-FR" sz="1400" b="1" noProof="0" dirty="0">
              <a:solidFill>
                <a:schemeClr val="bg1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1CF61E4-8D4B-FF53-F894-1487B3E2A99F}"/>
              </a:ext>
            </a:extLst>
          </p:cNvPr>
          <p:cNvSpPr/>
          <p:nvPr/>
        </p:nvSpPr>
        <p:spPr>
          <a:xfrm>
            <a:off x="1360131" y="4218063"/>
            <a:ext cx="1711432" cy="4143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1400" i="1" dirty="0">
                <a:solidFill>
                  <a:schemeClr val="tx2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otentiel modéré</a:t>
            </a:r>
          </a:p>
          <a:p>
            <a:pPr algn="ctr"/>
            <a:r>
              <a:rPr lang="fr-FR" sz="1400" b="1" dirty="0">
                <a:solidFill>
                  <a:schemeClr val="tx2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B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6791E59-EE8A-3782-510B-D0A3F122C8B0}"/>
              </a:ext>
            </a:extLst>
          </p:cNvPr>
          <p:cNvSpPr/>
          <p:nvPr/>
        </p:nvSpPr>
        <p:spPr>
          <a:xfrm>
            <a:off x="1360131" y="3059974"/>
            <a:ext cx="1711432" cy="4143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1400" i="1" dirty="0">
                <a:solidFill>
                  <a:schemeClr val="tx2">
                    <a:lumMod val="60000"/>
                    <a:lumOff val="4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otentiel faible</a:t>
            </a:r>
          </a:p>
          <a:p>
            <a:pPr algn="ctr"/>
            <a:r>
              <a:rPr lang="fr-FR" sz="14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D61F396-CE59-E0B6-C1BC-D312509755C4}"/>
              </a:ext>
            </a:extLst>
          </p:cNvPr>
          <p:cNvSpPr/>
          <p:nvPr/>
        </p:nvSpPr>
        <p:spPr>
          <a:xfrm>
            <a:off x="4555392" y="5757557"/>
            <a:ext cx="1174416" cy="3222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Gain CA potenti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91148D9-A07E-0E58-D595-312ECD64ABB2}"/>
              </a:ext>
            </a:extLst>
          </p:cNvPr>
          <p:cNvSpPr/>
          <p:nvPr/>
        </p:nvSpPr>
        <p:spPr>
          <a:xfrm>
            <a:off x="4653319" y="3293791"/>
            <a:ext cx="1174416" cy="3222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Gain CA potentiel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31E4853-8DD8-B3E6-3BCB-000FAD6CEF65}"/>
              </a:ext>
            </a:extLst>
          </p:cNvPr>
          <p:cNvSpPr/>
          <p:nvPr/>
        </p:nvSpPr>
        <p:spPr>
          <a:xfrm>
            <a:off x="1897146" y="1878385"/>
            <a:ext cx="1174416" cy="3222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1" u="none" strike="noStrike" kern="1200" cap="none" spc="0" normalizeH="0" baseline="0" noProof="0" dirty="0">
                <a:ln>
                  <a:noFill/>
                </a:ln>
                <a:solidFill>
                  <a:srgbClr val="20307E">
                    <a:lumMod val="60000"/>
                    <a:lumOff val="40000"/>
                  </a:srgbClr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Gain CA potentiel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25551D00-3370-D84A-BD88-F2FD7C6839D0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173505" y="1693663"/>
            <a:ext cx="907859" cy="4795200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3A273C46-EA6D-3F7B-6994-A5516A8BB4CC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0928536" y="1722144"/>
            <a:ext cx="908147" cy="479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201209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29AF17-CD8C-50D5-450C-3A8A2F6ECB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95C143B-1D08-9DC6-0BBD-2C17757050C5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0A3B18B-A6AC-5D71-261B-9D747010C954}"/>
              </a:ext>
            </a:extLst>
          </p:cNvPr>
          <p:cNvSpPr/>
          <p:nvPr/>
        </p:nvSpPr>
        <p:spPr>
          <a:xfrm>
            <a:off x="5144636" y="1403928"/>
            <a:ext cx="6514431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2356C2E9-91C2-819E-F2A6-738EC1994BBA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22360C7-ADE9-76B8-F395-46724874A5BE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B005 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F9983FE6-092C-B4AF-AD45-35B8CADCAF70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b="1" dirty="0">
                <a:solidFill>
                  <a:schemeClr val="accent1"/>
                </a:solidFill>
                <a:latin typeface="Aptos" panose="020B0004020202020204" pitchFamily="34" charset="0"/>
              </a:rPr>
              <a:t>Cas n°1 </a:t>
            </a:r>
            <a:r>
              <a:rPr lang="fr-FR" sz="1600" b="1" dirty="0">
                <a:solidFill>
                  <a:schemeClr val="bg1">
                    <a:lumMod val="85000"/>
                  </a:schemeClr>
                </a:solidFill>
                <a:latin typeface="Aptos" panose="020B0004020202020204" pitchFamily="34" charset="0"/>
              </a:rPr>
              <a:t>|</a:t>
            </a:r>
            <a:r>
              <a:rPr lang="fr-FR" sz="1600" dirty="0">
                <a:latin typeface="Aptos" panose="020B0004020202020204" pitchFamily="34" charset="0"/>
              </a:rPr>
              <a:t> </a:t>
            </a:r>
            <a:r>
              <a:rPr kumimoji="0" lang="fr-FR" sz="1600" b="0" i="1" u="none" strike="noStrike" kern="1200" cap="none" spc="0" normalizeH="0" baseline="0" noProof="0" dirty="0">
                <a:ln>
                  <a:noFill/>
                </a:ln>
                <a:solidFill>
                  <a:srgbClr val="1B1C1F">
                    <a:lumMod val="90000"/>
                    <a:lumOff val="10000"/>
                  </a:srgbClr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quérir les bons magasins</a:t>
            </a:r>
            <a:endParaRPr lang="fr-FR" sz="2800" i="1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7367B94B-4558-ED7D-CC65-B610606CB05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2614F66-7723-9C51-C00E-B592327029B5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Les magasins non adressés par Bombay sont ils localisés dans une région spécifique ou sur un format de magasin Leclerc ? 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4E8CD7A7-46CF-C8B9-CDAB-11D2B02A5B87}"/>
              </a:ext>
            </a:extLst>
          </p:cNvPr>
          <p:cNvGrpSpPr/>
          <p:nvPr/>
        </p:nvGrpSpPr>
        <p:grpSpPr>
          <a:xfrm>
            <a:off x="898070" y="1563201"/>
            <a:ext cx="3060000" cy="534498"/>
            <a:chOff x="1050129" y="1563201"/>
            <a:chExt cx="4326467" cy="534498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510E9D64-00C3-8DDB-9FA9-BC7A0E6D66CD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Répartition du potentiel de CA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0EBA904E-A789-444B-2018-5C4E31374EB9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086D06FF-D653-11D7-AED6-9EE6E5B380AD}"/>
              </a:ext>
            </a:extLst>
          </p:cNvPr>
          <p:cNvGrpSpPr/>
          <p:nvPr/>
        </p:nvGrpSpPr>
        <p:grpSpPr>
          <a:xfrm>
            <a:off x="5519251" y="1563201"/>
            <a:ext cx="3410741" cy="534498"/>
            <a:chOff x="5519251" y="1563201"/>
            <a:chExt cx="3410741" cy="534498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C33CF26A-9846-51E8-06CA-4CCDE43F41EF}"/>
                </a:ext>
              </a:extLst>
            </p:cNvPr>
            <p:cNvSpPr txBox="1"/>
            <p:nvPr/>
          </p:nvSpPr>
          <p:spPr>
            <a:xfrm>
              <a:off x="5519251" y="1563201"/>
              <a:ext cx="3410741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Magasins à adresser par taille en valeur…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B4F99431-C87D-2432-B597-AF3C3E75BDCB}"/>
                </a:ext>
              </a:extLst>
            </p:cNvPr>
            <p:cNvSpPr txBox="1"/>
            <p:nvPr/>
          </p:nvSpPr>
          <p:spPr>
            <a:xfrm>
              <a:off x="5519251" y="1787741"/>
              <a:ext cx="3060000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7C11073A-D900-9179-B74E-D52E25D3C14D}"/>
              </a:ext>
            </a:extLst>
          </p:cNvPr>
          <p:cNvSpPr txBox="1"/>
          <p:nvPr/>
        </p:nvSpPr>
        <p:spPr>
          <a:xfrm>
            <a:off x="9203378" y="1563201"/>
            <a:ext cx="2290547" cy="525401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 dirty="0">
                <a:latin typeface="Aptos" panose="020B0004020202020204" pitchFamily="34" charset="0"/>
              </a:rPr>
              <a:t>… et en pourcentage</a:t>
            </a:r>
          </a:p>
          <a:p>
            <a:endParaRPr lang="fr-FR" sz="1400" dirty="0">
              <a:latin typeface="Aptos" panose="020B0004020202020204" pitchFamily="34" charset="0"/>
            </a:endParaRP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997DBCC9-5A9B-AD83-DC36-2F90A67CE7DD}"/>
              </a:ext>
            </a:extLst>
          </p:cNvPr>
          <p:cNvGrpSpPr/>
          <p:nvPr/>
        </p:nvGrpSpPr>
        <p:grpSpPr>
          <a:xfrm>
            <a:off x="6096025" y="2583733"/>
            <a:ext cx="5257775" cy="3110490"/>
            <a:chOff x="5985164" y="2814450"/>
            <a:chExt cx="5770017" cy="2934000"/>
          </a:xfrm>
        </p:grpSpPr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3109DC7E-D85F-3569-0C1B-5C9599113451}"/>
                </a:ext>
              </a:extLst>
            </p:cNvPr>
            <p:cNvCxnSpPr>
              <a:cxnSpLocks/>
            </p:cNvCxnSpPr>
            <p:nvPr/>
          </p:nvCxnSpPr>
          <p:spPr>
            <a:xfrm>
              <a:off x="5985164" y="2814450"/>
              <a:ext cx="5770017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F6D4C382-0DCB-7B0B-DBE6-C3E1E0F369FB}"/>
                </a:ext>
              </a:extLst>
            </p:cNvPr>
            <p:cNvCxnSpPr>
              <a:cxnSpLocks/>
            </p:cNvCxnSpPr>
            <p:nvPr/>
          </p:nvCxnSpPr>
          <p:spPr>
            <a:xfrm>
              <a:off x="5985164" y="3081177"/>
              <a:ext cx="5770017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F6B7E436-A63D-F137-963E-E9729A0F88C2}"/>
                </a:ext>
              </a:extLst>
            </p:cNvPr>
            <p:cNvCxnSpPr>
              <a:cxnSpLocks/>
            </p:cNvCxnSpPr>
            <p:nvPr/>
          </p:nvCxnSpPr>
          <p:spPr>
            <a:xfrm>
              <a:off x="5985164" y="3347904"/>
              <a:ext cx="5770017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AF8D6CC1-ECAF-E80E-235D-B8A7AEBFA4AA}"/>
                </a:ext>
              </a:extLst>
            </p:cNvPr>
            <p:cNvCxnSpPr>
              <a:cxnSpLocks/>
            </p:cNvCxnSpPr>
            <p:nvPr/>
          </p:nvCxnSpPr>
          <p:spPr>
            <a:xfrm>
              <a:off x="5985164" y="3637034"/>
              <a:ext cx="5770017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F7B35623-0F9A-A93D-7B0F-51F5E0F62007}"/>
                </a:ext>
              </a:extLst>
            </p:cNvPr>
            <p:cNvCxnSpPr>
              <a:cxnSpLocks/>
            </p:cNvCxnSpPr>
            <p:nvPr/>
          </p:nvCxnSpPr>
          <p:spPr>
            <a:xfrm>
              <a:off x="5985164" y="3881358"/>
              <a:ext cx="5770017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B2B5A0FE-34BD-DCF7-8688-CFEA6CFDC67D}"/>
                </a:ext>
              </a:extLst>
            </p:cNvPr>
            <p:cNvCxnSpPr>
              <a:cxnSpLocks/>
            </p:cNvCxnSpPr>
            <p:nvPr/>
          </p:nvCxnSpPr>
          <p:spPr>
            <a:xfrm>
              <a:off x="5985164" y="4148085"/>
              <a:ext cx="5770017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DF5F371F-BC18-7863-F87C-D164D7085F43}"/>
                </a:ext>
              </a:extLst>
            </p:cNvPr>
            <p:cNvCxnSpPr>
              <a:cxnSpLocks/>
            </p:cNvCxnSpPr>
            <p:nvPr/>
          </p:nvCxnSpPr>
          <p:spPr>
            <a:xfrm>
              <a:off x="5985164" y="4414812"/>
              <a:ext cx="5770017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44642B80-4435-E503-AFE1-C85F048211FB}"/>
                </a:ext>
              </a:extLst>
            </p:cNvPr>
            <p:cNvCxnSpPr>
              <a:cxnSpLocks/>
            </p:cNvCxnSpPr>
            <p:nvPr/>
          </p:nvCxnSpPr>
          <p:spPr>
            <a:xfrm>
              <a:off x="5985164" y="4681539"/>
              <a:ext cx="5770017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86EB14F8-F0D8-D63C-5926-49407C8F743F}"/>
                </a:ext>
              </a:extLst>
            </p:cNvPr>
            <p:cNvCxnSpPr>
              <a:cxnSpLocks/>
            </p:cNvCxnSpPr>
            <p:nvPr/>
          </p:nvCxnSpPr>
          <p:spPr>
            <a:xfrm>
              <a:off x="5985164" y="4948266"/>
              <a:ext cx="5770017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F3DD4361-D65D-C84E-DEA4-DBFF8D5A1FDE}"/>
                </a:ext>
              </a:extLst>
            </p:cNvPr>
            <p:cNvCxnSpPr>
              <a:cxnSpLocks/>
            </p:cNvCxnSpPr>
            <p:nvPr/>
          </p:nvCxnSpPr>
          <p:spPr>
            <a:xfrm>
              <a:off x="5985164" y="5214993"/>
              <a:ext cx="5770017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63632CAC-11AF-A3A4-D4E6-AF352D1F4BEC}"/>
                </a:ext>
              </a:extLst>
            </p:cNvPr>
            <p:cNvCxnSpPr>
              <a:cxnSpLocks/>
            </p:cNvCxnSpPr>
            <p:nvPr/>
          </p:nvCxnSpPr>
          <p:spPr>
            <a:xfrm>
              <a:off x="5985164" y="5481720"/>
              <a:ext cx="5770017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FE4641DA-4BA1-9412-923B-B84E6D06E917}"/>
                </a:ext>
              </a:extLst>
            </p:cNvPr>
            <p:cNvCxnSpPr>
              <a:cxnSpLocks/>
            </p:cNvCxnSpPr>
            <p:nvPr/>
          </p:nvCxnSpPr>
          <p:spPr>
            <a:xfrm>
              <a:off x="5985164" y="5748450"/>
              <a:ext cx="5770017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Slide Number Placeholder 7">
            <a:extLst>
              <a:ext uri="{FF2B5EF4-FFF2-40B4-BE49-F238E27FC236}">
                <a16:creationId xmlns:a16="http://schemas.microsoft.com/office/drawing/2014/main" id="{BF75263E-97F6-D460-320E-52C0F39756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27</a:t>
            </a:fld>
            <a:endParaRPr lang="fr-FR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52A5DD9-B698-483C-9F39-2D8A27C7D1E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03297" y="1891976"/>
            <a:ext cx="6349538" cy="4386345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FD34C47D-8541-EE0F-8086-564CB228DAB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071977" y="2449339"/>
            <a:ext cx="2434245" cy="3398499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E2484579-D981-8E29-9634-125BC9F508B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98071" y="2246550"/>
            <a:ext cx="4125594" cy="39961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331389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F1ADFF-A714-56BF-8114-9D2DF47E1E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473B4E0-CD6E-3870-AF32-D576A1F20A7D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9E82380-E71D-695A-4D6F-11C5F0CA7C49}"/>
              </a:ext>
            </a:extLst>
          </p:cNvPr>
          <p:cNvSpPr/>
          <p:nvPr/>
        </p:nvSpPr>
        <p:spPr>
          <a:xfrm>
            <a:off x="532928" y="1403928"/>
            <a:ext cx="7651569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DBC9651A-FBE3-4082-DB8B-386F530F1D7B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31B1829-C9AA-D76E-82E7-FFD85541A79C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B006 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3FF0FEBD-ED91-EC69-7D1B-D87191019330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b="1" dirty="0">
                <a:solidFill>
                  <a:schemeClr val="accent1"/>
                </a:solidFill>
                <a:latin typeface="Aptos" panose="020B0004020202020204" pitchFamily="34" charset="0"/>
              </a:rPr>
              <a:t>Cas n°1 </a:t>
            </a:r>
            <a:r>
              <a:rPr lang="fr-FR" sz="1600" b="1" dirty="0">
                <a:solidFill>
                  <a:schemeClr val="bg1">
                    <a:lumMod val="85000"/>
                  </a:schemeClr>
                </a:solidFill>
                <a:latin typeface="Aptos" panose="020B0004020202020204" pitchFamily="34" charset="0"/>
              </a:rPr>
              <a:t>|</a:t>
            </a:r>
            <a:r>
              <a:rPr lang="fr-FR" sz="1600" dirty="0">
                <a:latin typeface="Aptos" panose="020B0004020202020204" pitchFamily="34" charset="0"/>
              </a:rPr>
              <a:t> </a:t>
            </a:r>
            <a:r>
              <a:rPr kumimoji="0" lang="fr-FR" sz="1600" b="0" i="1" u="none" strike="noStrike" kern="1200" cap="none" spc="0" normalizeH="0" baseline="0" noProof="0" dirty="0">
                <a:ln>
                  <a:noFill/>
                </a:ln>
                <a:solidFill>
                  <a:srgbClr val="1B1C1F">
                    <a:lumMod val="90000"/>
                    <a:lumOff val="10000"/>
                  </a:srgbClr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quérir les bons magasins</a:t>
            </a:r>
            <a:endParaRPr lang="fr-FR" sz="2800" i="1" dirty="0">
              <a:latin typeface="Aptos Black" panose="020B00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B0F4CAB-810B-A91B-66D6-739206CBC0AB}"/>
              </a:ext>
            </a:extLst>
          </p:cNvPr>
          <p:cNvSpPr txBox="1"/>
          <p:nvPr/>
        </p:nvSpPr>
        <p:spPr>
          <a:xfrm>
            <a:off x="898070" y="492774"/>
            <a:ext cx="7569036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 est le potentiel stratégique des magasins qui ne sont pas encore adressés par Bombay ? 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0A785420-C2C2-E1F6-CA6D-CE4AAB809527}"/>
              </a:ext>
            </a:extLst>
          </p:cNvPr>
          <p:cNvGrpSpPr/>
          <p:nvPr/>
        </p:nvGrpSpPr>
        <p:grpSpPr>
          <a:xfrm>
            <a:off x="898069" y="1563201"/>
            <a:ext cx="7399482" cy="534498"/>
            <a:chOff x="1050128" y="1563201"/>
            <a:chExt cx="5448674" cy="534498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611972D8-B3FD-E88E-2048-B7D156A16DBB}"/>
                </a:ext>
              </a:extLst>
            </p:cNvPr>
            <p:cNvSpPr txBox="1"/>
            <p:nvPr/>
          </p:nvSpPr>
          <p:spPr>
            <a:xfrm>
              <a:off x="1050128" y="1563201"/>
              <a:ext cx="5448674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Potentiel et intensité concurrentielle pour chaque magasin non adressé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6CB5A54C-4162-84F2-43F3-4A45549AA279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EECDF67D-31F1-216D-9E58-165A611DA202}"/>
              </a:ext>
            </a:extLst>
          </p:cNvPr>
          <p:cNvGrpSpPr/>
          <p:nvPr/>
        </p:nvGrpSpPr>
        <p:grpSpPr>
          <a:xfrm>
            <a:off x="1420090" y="5908350"/>
            <a:ext cx="969855" cy="333350"/>
            <a:chOff x="1396341" y="5908350"/>
            <a:chExt cx="969855" cy="333350"/>
          </a:xfrm>
        </p:grpSpPr>
        <p:pic>
          <p:nvPicPr>
            <p:cNvPr id="18" name="Graphic 17" descr="Badge Unfollow with solid fill">
              <a:extLst>
                <a:ext uri="{FF2B5EF4-FFF2-40B4-BE49-F238E27FC236}">
                  <a16:creationId xmlns:a16="http://schemas.microsoft.com/office/drawing/2014/main" id="{C2A57FB3-817E-8F2A-E36F-31F78F445D8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396341" y="5908350"/>
              <a:ext cx="333350" cy="333350"/>
            </a:xfrm>
            <a:prstGeom prst="rect">
              <a:avLst/>
            </a:prstGeom>
          </p:spPr>
        </p:pic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17130B27-91B1-C0D9-57B0-C8D91C999A8B}"/>
                </a:ext>
              </a:extLst>
            </p:cNvPr>
            <p:cNvSpPr txBox="1"/>
            <p:nvPr/>
          </p:nvSpPr>
          <p:spPr>
            <a:xfrm>
              <a:off x="1729691" y="5920046"/>
              <a:ext cx="636505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solidFill>
                    <a:schemeClr val="accent1"/>
                  </a:solidFill>
                  <a:latin typeface="Aptos" panose="020B0004020202020204" pitchFamily="34" charset="0"/>
                </a:rPr>
                <a:t>Faible</a:t>
              </a: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1DBE4751-0748-D8D2-11E0-E5B047561FC8}"/>
              </a:ext>
            </a:extLst>
          </p:cNvPr>
          <p:cNvGrpSpPr/>
          <p:nvPr/>
        </p:nvGrpSpPr>
        <p:grpSpPr>
          <a:xfrm>
            <a:off x="6912648" y="5908350"/>
            <a:ext cx="1031521" cy="333350"/>
            <a:chOff x="7506416" y="5908350"/>
            <a:chExt cx="1031521" cy="333350"/>
          </a:xfrm>
        </p:grpSpPr>
        <p:pic>
          <p:nvPicPr>
            <p:cNvPr id="20" name="Graphic 19" descr="Badge Follow with solid fill">
              <a:extLst>
                <a:ext uri="{FF2B5EF4-FFF2-40B4-BE49-F238E27FC236}">
                  <a16:creationId xmlns:a16="http://schemas.microsoft.com/office/drawing/2014/main" id="{A8EDE024-F5F6-F42A-3FAD-F74925A6A32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8204587" y="5908350"/>
              <a:ext cx="333350" cy="333350"/>
            </a:xfrm>
            <a:prstGeom prst="rect">
              <a:avLst/>
            </a:prstGeom>
          </p:spPr>
        </p:pic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68B76D75-1659-1D75-F652-02037F0D0049}"/>
                </a:ext>
              </a:extLst>
            </p:cNvPr>
            <p:cNvSpPr txBox="1"/>
            <p:nvPr/>
          </p:nvSpPr>
          <p:spPr>
            <a:xfrm>
              <a:off x="7506416" y="5920046"/>
              <a:ext cx="636505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pPr algn="r"/>
              <a:r>
                <a:rPr lang="fr-FR" sz="1400" b="1" dirty="0">
                  <a:solidFill>
                    <a:schemeClr val="accent6"/>
                  </a:solidFill>
                  <a:latin typeface="Aptos" panose="020B0004020202020204" pitchFamily="34" charset="0"/>
                </a:rPr>
                <a:t>Forte</a:t>
              </a: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29601A48-A8A8-B7B2-54FD-15060726EB70}"/>
              </a:ext>
            </a:extLst>
          </p:cNvPr>
          <p:cNvGrpSpPr/>
          <p:nvPr/>
        </p:nvGrpSpPr>
        <p:grpSpPr>
          <a:xfrm>
            <a:off x="701182" y="4741320"/>
            <a:ext cx="333350" cy="1000942"/>
            <a:chOff x="855563" y="4705695"/>
            <a:chExt cx="333350" cy="1000942"/>
          </a:xfrm>
        </p:grpSpPr>
        <p:pic>
          <p:nvPicPr>
            <p:cNvPr id="21" name="Graphic 20" descr="Badge Unfollow with solid fill">
              <a:extLst>
                <a:ext uri="{FF2B5EF4-FFF2-40B4-BE49-F238E27FC236}">
                  <a16:creationId xmlns:a16="http://schemas.microsoft.com/office/drawing/2014/main" id="{0ADDF8FF-D39A-2741-20EE-15C25DA20AA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855563" y="5373287"/>
              <a:ext cx="333350" cy="333350"/>
            </a:xfrm>
            <a:prstGeom prst="rect">
              <a:avLst/>
            </a:prstGeom>
          </p:spPr>
        </p:pic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2E37B5A2-A193-4664-AE0B-3178AA1D9BAF}"/>
                </a:ext>
              </a:extLst>
            </p:cNvPr>
            <p:cNvSpPr txBox="1"/>
            <p:nvPr/>
          </p:nvSpPr>
          <p:spPr>
            <a:xfrm rot="16200000">
              <a:off x="703986" y="4868969"/>
              <a:ext cx="636505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solidFill>
                    <a:schemeClr val="accent1"/>
                  </a:solidFill>
                  <a:latin typeface="Aptos" panose="020B0004020202020204" pitchFamily="34" charset="0"/>
                </a:rPr>
                <a:t>Forte</a:t>
              </a: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BED38CEF-7C41-A27E-D967-9F5D0A67EC01}"/>
              </a:ext>
            </a:extLst>
          </p:cNvPr>
          <p:cNvGrpSpPr/>
          <p:nvPr/>
        </p:nvGrpSpPr>
        <p:grpSpPr>
          <a:xfrm>
            <a:off x="701182" y="2343505"/>
            <a:ext cx="333350" cy="1017505"/>
            <a:chOff x="688888" y="2313142"/>
            <a:chExt cx="333350" cy="1017505"/>
          </a:xfrm>
        </p:grpSpPr>
        <p:pic>
          <p:nvPicPr>
            <p:cNvPr id="22" name="Graphic 21" descr="Badge Follow with solid fill">
              <a:extLst>
                <a:ext uri="{FF2B5EF4-FFF2-40B4-BE49-F238E27FC236}">
                  <a16:creationId xmlns:a16="http://schemas.microsoft.com/office/drawing/2014/main" id="{0EB6E447-F7CA-07DF-885A-0EACA9EA039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688888" y="2313142"/>
              <a:ext cx="333350" cy="333350"/>
            </a:xfrm>
            <a:prstGeom prst="rect">
              <a:avLst/>
            </a:prstGeom>
          </p:spPr>
        </p:pic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F9041108-4A3A-5F93-3A45-AF53A5B442E4}"/>
                </a:ext>
              </a:extLst>
            </p:cNvPr>
            <p:cNvSpPr txBox="1"/>
            <p:nvPr/>
          </p:nvSpPr>
          <p:spPr>
            <a:xfrm rot="16200000">
              <a:off x="537311" y="2857416"/>
              <a:ext cx="636505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pPr algn="r"/>
              <a:r>
                <a:rPr lang="fr-FR" sz="1400" b="1" dirty="0">
                  <a:solidFill>
                    <a:schemeClr val="accent6"/>
                  </a:solidFill>
                  <a:latin typeface="Aptos" panose="020B0004020202020204" pitchFamily="34" charset="0"/>
                </a:rPr>
                <a:t>Faible</a:t>
              </a: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E4FD6DCE-0713-7F0A-83E7-8581111E4393}"/>
              </a:ext>
            </a:extLst>
          </p:cNvPr>
          <p:cNvGrpSpPr/>
          <p:nvPr/>
        </p:nvGrpSpPr>
        <p:grpSpPr>
          <a:xfrm>
            <a:off x="8630480" y="0"/>
            <a:ext cx="3561521" cy="6858000"/>
            <a:chOff x="8630480" y="0"/>
            <a:chExt cx="3561521" cy="6858000"/>
          </a:xfrm>
        </p:grpSpPr>
        <p:pic>
          <p:nvPicPr>
            <p:cNvPr id="33" name="Picture 32" descr="Chess pieces">
              <a:extLst>
                <a:ext uri="{FF2B5EF4-FFF2-40B4-BE49-F238E27FC236}">
                  <a16:creationId xmlns:a16="http://schemas.microsoft.com/office/drawing/2014/main" id="{745C9EC1-2EB1-B2D5-64EC-A55ED66FFA1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colorTemperature colorTemp="59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6034" t="1" r="1" b="2169"/>
            <a:stretch>
              <a:fillRect/>
            </a:stretch>
          </p:blipFill>
          <p:spPr>
            <a:xfrm>
              <a:off x="8630480" y="0"/>
              <a:ext cx="3561520" cy="6858000"/>
            </a:xfrm>
            <a:prstGeom prst="rect">
              <a:avLst/>
            </a:prstGeom>
          </p:spPr>
        </p:pic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7879DAA1-CA67-2967-8DC0-F487CF2E1EDE}"/>
                </a:ext>
              </a:extLst>
            </p:cNvPr>
            <p:cNvSpPr/>
            <p:nvPr/>
          </p:nvSpPr>
          <p:spPr>
            <a:xfrm>
              <a:off x="8630481" y="0"/>
              <a:ext cx="3561520" cy="6858000"/>
            </a:xfrm>
            <a:prstGeom prst="rect">
              <a:avLst/>
            </a:prstGeom>
            <a:solidFill>
              <a:srgbClr val="303237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en-US" sz="1600" b="1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sp>
        <p:nvSpPr>
          <p:cNvPr id="35" name="Slide Number Placeholder 7">
            <a:extLst>
              <a:ext uri="{FF2B5EF4-FFF2-40B4-BE49-F238E27FC236}">
                <a16:creationId xmlns:a16="http://schemas.microsoft.com/office/drawing/2014/main" id="{CD2F690B-B7F8-D09E-8C25-EED1537CE5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>
                <a:solidFill>
                  <a:schemeClr val="bg1"/>
                </a:solidFill>
              </a:rPr>
              <a:t>28</a:t>
            </a:fld>
            <a:endParaRPr lang="fr-FR" dirty="0">
              <a:solidFill>
                <a:schemeClr val="bg1"/>
              </a:solidFill>
            </a:endParaRPr>
          </a:p>
        </p:txBody>
      </p:sp>
      <p:pic>
        <p:nvPicPr>
          <p:cNvPr id="39" name="Picture 38" descr="A black and white logo&#10;&#10;AI-generated content may be incorrect.">
            <a:extLst>
              <a:ext uri="{FF2B5EF4-FFF2-40B4-BE49-F238E27FC236}">
                <a16:creationId xmlns:a16="http://schemas.microsoft.com/office/drawing/2014/main" id="{52D7D84F-3EF3-5405-2681-5D80DAB8E97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6582" y="90715"/>
            <a:ext cx="1475418" cy="396832"/>
          </a:xfrm>
          <a:prstGeom prst="rect">
            <a:avLst/>
          </a:prstGeom>
        </p:spPr>
      </p:pic>
      <p:grpSp>
        <p:nvGrpSpPr>
          <p:cNvPr id="52" name="Group 51">
            <a:extLst>
              <a:ext uri="{FF2B5EF4-FFF2-40B4-BE49-F238E27FC236}">
                <a16:creationId xmlns:a16="http://schemas.microsoft.com/office/drawing/2014/main" id="{DB4DBE9C-D305-F129-2A70-290365363034}"/>
              </a:ext>
            </a:extLst>
          </p:cNvPr>
          <p:cNvGrpSpPr/>
          <p:nvPr/>
        </p:nvGrpSpPr>
        <p:grpSpPr>
          <a:xfrm>
            <a:off x="8941556" y="1065595"/>
            <a:ext cx="593561" cy="365125"/>
            <a:chOff x="8890374" y="1401540"/>
            <a:chExt cx="2743202" cy="1192336"/>
          </a:xfrm>
          <a:effectLst>
            <a:glow rad="63500">
              <a:schemeClr val="tx2">
                <a:lumMod val="60000"/>
                <a:lumOff val="40000"/>
                <a:alpha val="40000"/>
              </a:schemeClr>
            </a:glow>
          </a:effectLst>
        </p:grpSpPr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AB36A32E-AA70-40D5-D9D6-001970106BC7}"/>
                </a:ext>
              </a:extLst>
            </p:cNvPr>
            <p:cNvSpPr/>
            <p:nvPr/>
          </p:nvSpPr>
          <p:spPr>
            <a:xfrm>
              <a:off x="8890374" y="1401540"/>
              <a:ext cx="2743199" cy="119233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50" name="Right Triangle 49">
              <a:extLst>
                <a:ext uri="{FF2B5EF4-FFF2-40B4-BE49-F238E27FC236}">
                  <a16:creationId xmlns:a16="http://schemas.microsoft.com/office/drawing/2014/main" id="{321E4D92-EEE0-B37F-F998-A1D0E052ADFF}"/>
                </a:ext>
              </a:extLst>
            </p:cNvPr>
            <p:cNvSpPr/>
            <p:nvPr/>
          </p:nvSpPr>
          <p:spPr>
            <a:xfrm>
              <a:off x="8890374" y="1679477"/>
              <a:ext cx="1826206" cy="914399"/>
            </a:xfrm>
            <a:prstGeom prst="rtTriangl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51" name="Right Triangle 50">
              <a:extLst>
                <a:ext uri="{FF2B5EF4-FFF2-40B4-BE49-F238E27FC236}">
                  <a16:creationId xmlns:a16="http://schemas.microsoft.com/office/drawing/2014/main" id="{670E9746-1022-8F7E-C52D-80DDF085AF88}"/>
                </a:ext>
              </a:extLst>
            </p:cNvPr>
            <p:cNvSpPr/>
            <p:nvPr/>
          </p:nvSpPr>
          <p:spPr>
            <a:xfrm rot="10800000">
              <a:off x="9807370" y="1401542"/>
              <a:ext cx="1826206" cy="914399"/>
            </a:xfrm>
            <a:prstGeom prst="rtTriangle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49A2C24B-27D2-9599-E40C-E8CA1AC3877C}"/>
              </a:ext>
            </a:extLst>
          </p:cNvPr>
          <p:cNvGrpSpPr/>
          <p:nvPr/>
        </p:nvGrpSpPr>
        <p:grpSpPr>
          <a:xfrm>
            <a:off x="8941556" y="2863741"/>
            <a:ext cx="593560" cy="365125"/>
            <a:chOff x="8890376" y="1401540"/>
            <a:chExt cx="2743200" cy="1192337"/>
          </a:xfrm>
          <a:effectLst>
            <a:glow rad="63500">
              <a:schemeClr val="accent4">
                <a:alpha val="40000"/>
              </a:schemeClr>
            </a:glow>
          </a:effectLst>
        </p:grpSpPr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D533C03D-59C9-C09D-1718-340C66C2F493}"/>
                </a:ext>
              </a:extLst>
            </p:cNvPr>
            <p:cNvSpPr/>
            <p:nvPr/>
          </p:nvSpPr>
          <p:spPr>
            <a:xfrm>
              <a:off x="8890376" y="1401540"/>
              <a:ext cx="2743200" cy="1192337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59" name="Right Triangle 58">
              <a:extLst>
                <a:ext uri="{FF2B5EF4-FFF2-40B4-BE49-F238E27FC236}">
                  <a16:creationId xmlns:a16="http://schemas.microsoft.com/office/drawing/2014/main" id="{0D340AF3-04B5-894E-EB12-4584922C539B}"/>
                </a:ext>
              </a:extLst>
            </p:cNvPr>
            <p:cNvSpPr/>
            <p:nvPr/>
          </p:nvSpPr>
          <p:spPr>
            <a:xfrm>
              <a:off x="8890376" y="1679477"/>
              <a:ext cx="1826206" cy="914400"/>
            </a:xfrm>
            <a:prstGeom prst="rtTriangl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60" name="Right Triangle 59">
              <a:extLst>
                <a:ext uri="{FF2B5EF4-FFF2-40B4-BE49-F238E27FC236}">
                  <a16:creationId xmlns:a16="http://schemas.microsoft.com/office/drawing/2014/main" id="{FF8F3B04-B6FB-130C-EBA7-93D52208C9D3}"/>
                </a:ext>
              </a:extLst>
            </p:cNvPr>
            <p:cNvSpPr/>
            <p:nvPr/>
          </p:nvSpPr>
          <p:spPr>
            <a:xfrm rot="10800000">
              <a:off x="9807370" y="1401541"/>
              <a:ext cx="1826206" cy="914400"/>
            </a:xfrm>
            <a:prstGeom prst="rtTriangl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520148B7-CC94-C2B7-8E6B-BB252F076810}"/>
              </a:ext>
            </a:extLst>
          </p:cNvPr>
          <p:cNvGrpSpPr/>
          <p:nvPr/>
        </p:nvGrpSpPr>
        <p:grpSpPr>
          <a:xfrm>
            <a:off x="8941556" y="4661886"/>
            <a:ext cx="593560" cy="365125"/>
            <a:chOff x="8890376" y="1401540"/>
            <a:chExt cx="2743200" cy="1192337"/>
          </a:xfrm>
          <a:effectLst>
            <a:glow rad="63500">
              <a:schemeClr val="accent1">
                <a:lumMod val="60000"/>
                <a:lumOff val="40000"/>
                <a:alpha val="40000"/>
              </a:schemeClr>
            </a:glow>
          </a:effectLst>
        </p:grpSpPr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AA6DF0C5-4700-464F-F011-02057DC4755C}"/>
                </a:ext>
              </a:extLst>
            </p:cNvPr>
            <p:cNvSpPr/>
            <p:nvPr/>
          </p:nvSpPr>
          <p:spPr>
            <a:xfrm>
              <a:off x="8890376" y="1401540"/>
              <a:ext cx="2743200" cy="119233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63" name="Right Triangle 62">
              <a:extLst>
                <a:ext uri="{FF2B5EF4-FFF2-40B4-BE49-F238E27FC236}">
                  <a16:creationId xmlns:a16="http://schemas.microsoft.com/office/drawing/2014/main" id="{6B15E244-70E4-E0BF-05FF-F92B5D7E00CD}"/>
                </a:ext>
              </a:extLst>
            </p:cNvPr>
            <p:cNvSpPr/>
            <p:nvPr/>
          </p:nvSpPr>
          <p:spPr>
            <a:xfrm>
              <a:off x="8890376" y="1679477"/>
              <a:ext cx="1826206" cy="914400"/>
            </a:xfrm>
            <a:prstGeom prst="rtTriangle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1024" name="Right Triangle 1023">
              <a:extLst>
                <a:ext uri="{FF2B5EF4-FFF2-40B4-BE49-F238E27FC236}">
                  <a16:creationId xmlns:a16="http://schemas.microsoft.com/office/drawing/2014/main" id="{0D21524A-6CAE-BDD8-576C-DBBA1A2F1606}"/>
                </a:ext>
              </a:extLst>
            </p:cNvPr>
            <p:cNvSpPr/>
            <p:nvPr/>
          </p:nvSpPr>
          <p:spPr>
            <a:xfrm rot="10800000">
              <a:off x="9807370" y="1401541"/>
              <a:ext cx="1826206" cy="914400"/>
            </a:xfrm>
            <a:prstGeom prst="rtTriangl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1025" name="TextBox 1024">
            <a:extLst>
              <a:ext uri="{FF2B5EF4-FFF2-40B4-BE49-F238E27FC236}">
                <a16:creationId xmlns:a16="http://schemas.microsoft.com/office/drawing/2014/main" id="{E966E33A-AD6A-35A2-54FD-48CBC3E91B25}"/>
              </a:ext>
            </a:extLst>
          </p:cNvPr>
          <p:cNvSpPr txBox="1"/>
          <p:nvPr/>
        </p:nvSpPr>
        <p:spPr>
          <a:xfrm>
            <a:off x="9737766" y="998232"/>
            <a:ext cx="2244437" cy="956288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 dirty="0">
                <a:solidFill>
                  <a:schemeClr val="bg1"/>
                </a:solidFill>
                <a:latin typeface="Aptos" panose="020B0004020202020204" pitchFamily="34" charset="0"/>
              </a:rPr>
              <a:t>OCÉAN BLEU</a:t>
            </a:r>
          </a:p>
          <a:p>
            <a:r>
              <a:rPr lang="fr-FR" sz="1400" dirty="0">
                <a:solidFill>
                  <a:schemeClr val="bg1"/>
                </a:solidFill>
                <a:latin typeface="Aptos" panose="020B0004020202020204" pitchFamily="34" charset="0"/>
              </a:rPr>
              <a:t>Magasins ayant un potentiel important et une intensité concurrentielle faible.</a:t>
            </a:r>
          </a:p>
        </p:txBody>
      </p:sp>
      <p:sp>
        <p:nvSpPr>
          <p:cNvPr id="1026" name="TextBox 1025">
            <a:extLst>
              <a:ext uri="{FF2B5EF4-FFF2-40B4-BE49-F238E27FC236}">
                <a16:creationId xmlns:a16="http://schemas.microsoft.com/office/drawing/2014/main" id="{342A21B5-B820-B106-3E89-92671D8E94E8}"/>
              </a:ext>
            </a:extLst>
          </p:cNvPr>
          <p:cNvSpPr txBox="1"/>
          <p:nvPr/>
        </p:nvSpPr>
        <p:spPr>
          <a:xfrm>
            <a:off x="9737766" y="2802028"/>
            <a:ext cx="2244437" cy="956288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 dirty="0">
                <a:solidFill>
                  <a:schemeClr val="bg1"/>
                </a:solidFill>
                <a:latin typeface="Aptos" panose="020B0004020202020204" pitchFamily="34" charset="0"/>
              </a:rPr>
              <a:t>POTENTIEL MODÉRÉ</a:t>
            </a:r>
          </a:p>
          <a:p>
            <a:r>
              <a:rPr lang="fr-FR" sz="1400" dirty="0">
                <a:solidFill>
                  <a:schemeClr val="bg1"/>
                </a:solidFill>
                <a:latin typeface="Aptos" panose="020B0004020202020204" pitchFamily="34" charset="0"/>
              </a:rPr>
              <a:t>Magasins ayant un potentiel et une concurrence équilibrée.</a:t>
            </a:r>
          </a:p>
        </p:txBody>
      </p:sp>
      <p:sp>
        <p:nvSpPr>
          <p:cNvPr id="1027" name="TextBox 1026">
            <a:extLst>
              <a:ext uri="{FF2B5EF4-FFF2-40B4-BE49-F238E27FC236}">
                <a16:creationId xmlns:a16="http://schemas.microsoft.com/office/drawing/2014/main" id="{CCF0437E-CD54-A1AC-BA4C-15C94141450C}"/>
              </a:ext>
            </a:extLst>
          </p:cNvPr>
          <p:cNvSpPr txBox="1"/>
          <p:nvPr/>
        </p:nvSpPr>
        <p:spPr>
          <a:xfrm>
            <a:off x="9737766" y="4605825"/>
            <a:ext cx="2244437" cy="987066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 dirty="0">
                <a:solidFill>
                  <a:schemeClr val="bg1"/>
                </a:solidFill>
                <a:latin typeface="Aptos" panose="020B0004020202020204" pitchFamily="34" charset="0"/>
              </a:rPr>
              <a:t>POTENTIEL FAIBLE</a:t>
            </a:r>
          </a:p>
          <a:p>
            <a:r>
              <a:rPr lang="fr-FR" sz="1400" dirty="0">
                <a:solidFill>
                  <a:schemeClr val="bg1"/>
                </a:solidFill>
                <a:latin typeface="Aptos" panose="020B0004020202020204" pitchFamily="34" charset="0"/>
              </a:rPr>
              <a:t>Magasins à faible potentiel ou dont l’intensité concurrentielle est élevée</a:t>
            </a:r>
            <a:r>
              <a:rPr lang="fr-FR" sz="1600" dirty="0">
                <a:solidFill>
                  <a:schemeClr val="bg1"/>
                </a:solidFill>
                <a:latin typeface="Aptos" panose="020B0004020202020204" pitchFamily="34" charset="0"/>
              </a:rPr>
              <a:t>.</a:t>
            </a:r>
            <a:endParaRPr lang="fr-FR" sz="1400" dirty="0">
              <a:solidFill>
                <a:schemeClr val="bg1"/>
              </a:solidFill>
              <a:latin typeface="Aptos" panose="020B0004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1C34A43-BD04-FBFF-48D9-1A93B503C06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481349" y="2327239"/>
            <a:ext cx="6405537" cy="3384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DB05640-F7FB-753E-2411-0747207D271D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24753" y="2350920"/>
            <a:ext cx="7316681" cy="384799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8C7FC3D-E093-F8CE-2323-A9EA5315AE7D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941556" y="5447009"/>
            <a:ext cx="3046747" cy="956289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468CECE-C3CA-F7CA-5211-80575E463521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941556" y="1799470"/>
            <a:ext cx="3051598" cy="956289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FE72304-F47A-B519-9826-9CEAE74F3C5E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8941556" y="3612848"/>
            <a:ext cx="3051598" cy="9562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845971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5F0B36-25A4-6A09-01FD-18845F6E99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01A5561-0FBE-08E7-6725-4976E8A2517C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A593330-B07E-2C5A-2EAC-2C04CC910502}"/>
              </a:ext>
            </a:extLst>
          </p:cNvPr>
          <p:cNvSpPr/>
          <p:nvPr/>
        </p:nvSpPr>
        <p:spPr>
          <a:xfrm>
            <a:off x="532929" y="1403928"/>
            <a:ext cx="11126136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598EE5AB-0EEB-A037-0E22-EF1077AF502F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1239760-DD12-3D66-DD7A-F6F5F4DACA47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B014 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46C934A0-60B9-3FB9-8CC1-F5FC09E97ED5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b="1" dirty="0">
                <a:solidFill>
                  <a:schemeClr val="accent1"/>
                </a:solidFill>
                <a:latin typeface="Aptos" panose="020B0004020202020204" pitchFamily="34" charset="0"/>
              </a:rPr>
              <a:t>Cas n°2 </a:t>
            </a:r>
            <a:r>
              <a:rPr lang="fr-FR" sz="1600" b="1" dirty="0">
                <a:solidFill>
                  <a:schemeClr val="bg1">
                    <a:lumMod val="85000"/>
                  </a:schemeClr>
                </a:solidFill>
                <a:latin typeface="Aptos" panose="020B0004020202020204" pitchFamily="34" charset="0"/>
              </a:rPr>
              <a:t>|</a:t>
            </a:r>
            <a:r>
              <a:rPr lang="fr-FR" sz="1600" dirty="0">
                <a:latin typeface="Aptos" panose="020B0004020202020204" pitchFamily="34" charset="0"/>
              </a:rPr>
              <a:t> </a:t>
            </a:r>
            <a:r>
              <a:rPr kumimoji="0" lang="fr-FR" sz="1600" b="0" i="1" u="none" strike="noStrike" kern="1200" cap="none" spc="0" normalizeH="0" baseline="0" noProof="0" dirty="0">
                <a:ln>
                  <a:noFill/>
                </a:ln>
                <a:solidFill>
                  <a:srgbClr val="1B1C1F">
                    <a:lumMod val="90000"/>
                    <a:lumOff val="10000"/>
                  </a:srgbClr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roposer les bons produits</a:t>
            </a:r>
            <a:endParaRPr lang="fr-FR" sz="2800" i="1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8FC5A8EA-5C92-C6FC-0789-EC4170316B3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9C4A385-0AAC-5B5F-DA64-A8FE86B42C56}"/>
              </a:ext>
            </a:extLst>
          </p:cNvPr>
          <p:cNvSpPr txBox="1"/>
          <p:nvPr/>
        </p:nvSpPr>
        <p:spPr>
          <a:xfrm>
            <a:off x="898070" y="492774"/>
            <a:ext cx="10760998" cy="1202510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Bombay parvient elle à améliorer sa pénétration des points de ventes déjà adressés ? (i.e. augmenter le nombre de références proposées). </a:t>
            </a:r>
          </a:p>
          <a:p>
            <a:endParaRPr lang="fr-FR" sz="2400" b="1" dirty="0">
              <a:latin typeface="Aptos Black" panose="020B0004020202020204" pitchFamily="34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86046149-B2C7-1A98-1FDA-AB3826D87017}"/>
              </a:ext>
            </a:extLst>
          </p:cNvPr>
          <p:cNvGrpSpPr/>
          <p:nvPr/>
        </p:nvGrpSpPr>
        <p:grpSpPr>
          <a:xfrm>
            <a:off x="898068" y="1563201"/>
            <a:ext cx="10561619" cy="534498"/>
            <a:chOff x="1050129" y="1563201"/>
            <a:chExt cx="4326467" cy="534498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1C150C71-504C-2305-483B-C632540D77AD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Nombre de produits Bombay proposés en moyenne par magasin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C8776AEE-53AE-936E-16FF-F066BE7F8AF6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Du 23 juin 2025 au 22 sept 2025 chez Leclerc – Uniquement sur les magasins proposants au moins 1 produit de la marque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15" name="Slide Number Placeholder 7">
            <a:extLst>
              <a:ext uri="{FF2B5EF4-FFF2-40B4-BE49-F238E27FC236}">
                <a16:creationId xmlns:a16="http://schemas.microsoft.com/office/drawing/2014/main" id="{F15A356E-0E95-A1BD-2F6B-CDA9D7E149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29</a:t>
            </a:fld>
            <a:endParaRPr lang="fr-FR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46781BD-17C5-B346-01BB-19A18A01395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8069" y="2243166"/>
            <a:ext cx="10453381" cy="3979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280511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27CD18-53B7-4054-A9A8-B6ADA2803C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Chess pieces">
            <a:extLst>
              <a:ext uri="{FF2B5EF4-FFF2-40B4-BE49-F238E27FC236}">
                <a16:creationId xmlns:a16="http://schemas.microsoft.com/office/drawing/2014/main" id="{6E013ABA-421B-FB45-ED9F-78E1101262E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59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58980" t="1" r="1" b="2169"/>
          <a:stretch/>
        </p:blipFill>
        <p:spPr>
          <a:xfrm>
            <a:off x="6095996" y="0"/>
            <a:ext cx="6096004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5FE15DB9-304D-3DDF-9ED1-2C017C8F7860}"/>
              </a:ext>
            </a:extLst>
          </p:cNvPr>
          <p:cNvSpPr/>
          <p:nvPr/>
        </p:nvSpPr>
        <p:spPr>
          <a:xfrm>
            <a:off x="6096003" y="0"/>
            <a:ext cx="6095998" cy="6858000"/>
          </a:xfrm>
          <a:prstGeom prst="rect">
            <a:avLst/>
          </a:prstGeom>
          <a:solidFill>
            <a:srgbClr val="303237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B946E3E7-DB53-81E9-8C7D-B48F864B3676}"/>
              </a:ext>
            </a:extLst>
          </p:cNvPr>
          <p:cNvSpPr/>
          <p:nvPr/>
        </p:nvSpPr>
        <p:spPr>
          <a:xfrm>
            <a:off x="-1" y="1403928"/>
            <a:ext cx="6095997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EB05684-5C65-9EF9-1A18-73EC50AFE00F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i="1" dirty="0">
                <a:latin typeface="Aptos" panose="020B0004020202020204" pitchFamily="34" charset="0"/>
              </a:rPr>
              <a:t>Périmètre de l’étude</a:t>
            </a:r>
            <a:endParaRPr lang="fr-FR" sz="2800" b="1" dirty="0">
              <a:latin typeface="Aptos Black" panose="020B0004020202020204" pitchFamily="34" charset="0"/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B15663AF-6BD5-CFEC-2486-17E520060AC8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85D5BF9-BF7A-7191-ED01-2D3CBE5CB1DD}"/>
              </a:ext>
            </a:extLst>
          </p:cNvPr>
          <p:cNvGrpSpPr/>
          <p:nvPr/>
        </p:nvGrpSpPr>
        <p:grpSpPr>
          <a:xfrm>
            <a:off x="6594305" y="491349"/>
            <a:ext cx="5302520" cy="833178"/>
            <a:chOff x="6594305" y="491349"/>
            <a:chExt cx="5302520" cy="83317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A318627F-B52E-7EE6-EB92-D4FE0EC81EA5}"/>
                </a:ext>
              </a:extLst>
            </p:cNvPr>
            <p:cNvSpPr txBox="1"/>
            <p:nvPr/>
          </p:nvSpPr>
          <p:spPr>
            <a:xfrm>
              <a:off x="6988318" y="491349"/>
              <a:ext cx="4908507" cy="833178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2400" b="1">
                  <a:solidFill>
                    <a:schemeClr val="bg1"/>
                  </a:solidFill>
                  <a:latin typeface="Aptos Black" panose="020B0004020202020204" pitchFamily="34" charset="0"/>
                </a:rPr>
                <a:t>Elle couvre 23 marques et se focalise sur Bombay.</a:t>
              </a:r>
              <a:endParaRPr lang="fr-FR" sz="2400" b="1" dirty="0">
                <a:solidFill>
                  <a:schemeClr val="bg1"/>
                </a:solidFill>
                <a:latin typeface="Aptos Black" panose="020B0004020202020204" pitchFamily="34" charset="0"/>
              </a:endParaRPr>
            </a:p>
          </p:txBody>
        </p:sp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6716886C-9BE1-A5FE-3B71-F7B2084D70EC}"/>
                </a:ext>
              </a:extLst>
            </p:cNvPr>
            <p:cNvSpPr/>
            <p:nvPr/>
          </p:nvSpPr>
          <p:spPr>
            <a:xfrm>
              <a:off x="6594305" y="611296"/>
              <a:ext cx="226904" cy="226904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en-US" sz="1600" b="1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A86ADE9B-211B-2AAD-1BFF-FED6432DE489}"/>
              </a:ext>
            </a:extLst>
          </p:cNvPr>
          <p:cNvGrpSpPr/>
          <p:nvPr/>
        </p:nvGrpSpPr>
        <p:grpSpPr>
          <a:xfrm>
            <a:off x="898068" y="1569322"/>
            <a:ext cx="4976357" cy="377986"/>
            <a:chOff x="898068" y="1569322"/>
            <a:chExt cx="4976357" cy="377986"/>
          </a:xfrm>
        </p:grpSpPr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1AE8A3DC-C402-B50E-67AA-D6A9D39ED3C7}"/>
                </a:ext>
              </a:extLst>
            </p:cNvPr>
            <p:cNvSpPr txBox="1"/>
            <p:nvPr/>
          </p:nvSpPr>
          <p:spPr>
            <a:xfrm>
              <a:off x="898070" y="1569322"/>
              <a:ext cx="4976355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Nombre de points de ventes Leclerc étudiés par région</a:t>
              </a:r>
              <a:endParaRPr lang="fr-FR" sz="1400" b="1" dirty="0">
                <a:latin typeface="Aptos" panose="020B0004020202020204" pitchFamily="34" charset="0"/>
              </a:endParaRPr>
            </a:p>
          </p:txBody>
        </p:sp>
        <p:sp>
          <p:nvSpPr>
            <p:cNvPr id="52" name="Rectangle: Rounded Corners 51">
              <a:extLst>
                <a:ext uri="{FF2B5EF4-FFF2-40B4-BE49-F238E27FC236}">
                  <a16:creationId xmlns:a16="http://schemas.microsoft.com/office/drawing/2014/main" id="{5E7FBE42-5626-8E3E-3996-B9F99063B85A}"/>
                </a:ext>
              </a:extLst>
            </p:cNvPr>
            <p:cNvSpPr/>
            <p:nvPr/>
          </p:nvSpPr>
          <p:spPr>
            <a:xfrm>
              <a:off x="898068" y="1884555"/>
              <a:ext cx="228263" cy="62753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en-US" sz="1400" b="1" dirty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DCECC91C-BEC2-D1A2-8C3D-C1B0C7D18272}"/>
              </a:ext>
            </a:extLst>
          </p:cNvPr>
          <p:cNvGrpSpPr/>
          <p:nvPr/>
        </p:nvGrpSpPr>
        <p:grpSpPr>
          <a:xfrm>
            <a:off x="6988317" y="1569322"/>
            <a:ext cx="4976356" cy="377986"/>
            <a:chOff x="6988317" y="1569322"/>
            <a:chExt cx="4976356" cy="377986"/>
          </a:xfrm>
        </p:grpSpPr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D1402531-C3A1-380B-C23E-536A6F5EB298}"/>
                </a:ext>
              </a:extLst>
            </p:cNvPr>
            <p:cNvSpPr txBox="1"/>
            <p:nvPr/>
          </p:nvSpPr>
          <p:spPr>
            <a:xfrm>
              <a:off x="6988318" y="1569322"/>
              <a:ext cx="4976355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solidFill>
                    <a:schemeClr val="bg1"/>
                  </a:solidFill>
                  <a:latin typeface="Aptos" panose="020B0004020202020204" pitchFamily="34" charset="0"/>
                </a:rPr>
                <a:t>Distribution des marques par point de vente au 22 sept 2025</a:t>
              </a:r>
              <a:endParaRPr lang="fr-FR" sz="2400" b="1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53" name="Rectangle: Rounded Corners 52">
              <a:extLst>
                <a:ext uri="{FF2B5EF4-FFF2-40B4-BE49-F238E27FC236}">
                  <a16:creationId xmlns:a16="http://schemas.microsoft.com/office/drawing/2014/main" id="{5AFB5F66-32C6-071A-7BCC-03A48D7124D1}"/>
                </a:ext>
              </a:extLst>
            </p:cNvPr>
            <p:cNvSpPr/>
            <p:nvPr/>
          </p:nvSpPr>
          <p:spPr>
            <a:xfrm>
              <a:off x="6988317" y="1884555"/>
              <a:ext cx="228263" cy="62753"/>
            </a:xfrm>
            <a:prstGeom prst="roundRect">
              <a:avLst>
                <a:gd name="adj" fmla="val 50000"/>
              </a:avLst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en-US" sz="1400" b="1" dirty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sp>
        <p:nvSpPr>
          <p:cNvPr id="59" name="TextBox 58">
            <a:extLst>
              <a:ext uri="{FF2B5EF4-FFF2-40B4-BE49-F238E27FC236}">
                <a16:creationId xmlns:a16="http://schemas.microsoft.com/office/drawing/2014/main" id="{95F41D80-87D2-64A7-1DD9-9C4B1B041F58}"/>
              </a:ext>
            </a:extLst>
          </p:cNvPr>
          <p:cNvSpPr txBox="1"/>
          <p:nvPr/>
        </p:nvSpPr>
        <p:spPr>
          <a:xfrm>
            <a:off x="898070" y="491349"/>
            <a:ext cx="4976355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Points de ventes Leclerc adressés par région.</a:t>
            </a:r>
            <a:endParaRPr lang="fr-FR" sz="2800" b="1" dirty="0">
              <a:latin typeface="Aptos Black" panose="020B0004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57E1337-210C-2476-3CB4-50EC50C2CC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EF78A9-82AA-4C6F-AD45-43DF650E2802}" type="slidenum">
              <a:rPr lang="fr-FR" smtClean="0">
                <a:solidFill>
                  <a:schemeClr val="bg1"/>
                </a:solidFill>
              </a:rPr>
              <a:t>3</a:t>
            </a:fld>
            <a:endParaRPr lang="fr-FR">
              <a:solidFill>
                <a:schemeClr val="bg1"/>
              </a:solidFill>
            </a:endParaRPr>
          </a:p>
        </p:txBody>
      </p:sp>
      <p:pic>
        <p:nvPicPr>
          <p:cNvPr id="2" name="Picture 1" descr="A black and white logo&#10;&#10;AI-generated content may be incorrect.">
            <a:extLst>
              <a:ext uri="{FF2B5EF4-FFF2-40B4-BE49-F238E27FC236}">
                <a16:creationId xmlns:a16="http://schemas.microsoft.com/office/drawing/2014/main" id="{F6BDD512-B128-7855-6CBD-8B58933D389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6582" y="90715"/>
            <a:ext cx="1475418" cy="396832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A6F79E25-C98B-4CE9-CA5F-331D8A317462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A101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8211C08-C0F4-F5B9-69EE-12A181A1F3B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0145" y="2120849"/>
            <a:ext cx="5188606" cy="42264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135E5E20-AFD4-1D06-7174-A8A84B1075B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82847" y="1898698"/>
            <a:ext cx="4662757" cy="49157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608725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73947B-1153-256B-73BD-880B8B9718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B53D170-A915-A482-4F32-1B3C59440702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B3467A7-0E26-5590-01FD-B9E74F65A19C}"/>
              </a:ext>
            </a:extLst>
          </p:cNvPr>
          <p:cNvSpPr/>
          <p:nvPr/>
        </p:nvSpPr>
        <p:spPr>
          <a:xfrm>
            <a:off x="532929" y="1403928"/>
            <a:ext cx="5036228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15A9F9AB-7A6E-F519-291F-3820769DD74C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A2D40DE-B107-22EA-BD04-912B55FEF045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B007 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5C2DABA2-60B7-2F7E-621A-6E7782324A5C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b="1" dirty="0">
                <a:solidFill>
                  <a:schemeClr val="accent1"/>
                </a:solidFill>
                <a:latin typeface="Aptos" panose="020B0004020202020204" pitchFamily="34" charset="0"/>
              </a:rPr>
              <a:t>Cas n°2 </a:t>
            </a:r>
            <a:r>
              <a:rPr lang="fr-FR" sz="1600" b="1" dirty="0">
                <a:solidFill>
                  <a:schemeClr val="bg1">
                    <a:lumMod val="85000"/>
                  </a:schemeClr>
                </a:solidFill>
                <a:latin typeface="Aptos" panose="020B0004020202020204" pitchFamily="34" charset="0"/>
              </a:rPr>
              <a:t>|</a:t>
            </a:r>
            <a:r>
              <a:rPr lang="fr-FR" sz="1600" dirty="0">
                <a:latin typeface="Aptos" panose="020B0004020202020204" pitchFamily="34" charset="0"/>
              </a:rPr>
              <a:t> </a:t>
            </a:r>
            <a:r>
              <a:rPr kumimoji="0" lang="fr-FR" sz="1600" b="0" i="1" u="none" strike="noStrike" kern="1200" cap="none" spc="0" normalizeH="0" baseline="0" noProof="0" dirty="0">
                <a:ln>
                  <a:noFill/>
                </a:ln>
                <a:solidFill>
                  <a:srgbClr val="1B1C1F">
                    <a:lumMod val="90000"/>
                    <a:lumOff val="10000"/>
                  </a:srgbClr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roposer les bons produits</a:t>
            </a:r>
            <a:endParaRPr lang="fr-FR" sz="2800" i="1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6C763E90-240A-3430-CEFE-40F0F124F0A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E3D1EEBB-E43E-368A-E20D-24B530133F1E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le est la dynamique des différents produits et formats proposés par Bombay chez Leclerc sur le dernier trimestre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68C3F3CF-DA86-2EE8-E19C-28321B4F8A39}"/>
              </a:ext>
            </a:extLst>
          </p:cNvPr>
          <p:cNvGrpSpPr/>
          <p:nvPr/>
        </p:nvGrpSpPr>
        <p:grpSpPr>
          <a:xfrm>
            <a:off x="5874425" y="1563201"/>
            <a:ext cx="5197930" cy="534498"/>
            <a:chOff x="1050129" y="1563201"/>
            <a:chExt cx="4326467" cy="534498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8B6A15B8-D428-5B1E-23E4-1258E9510CA3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Évolution de la distribution par produit Bombay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1FD8389A-E184-0A11-7E1C-FF8C99720D66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Base 100 : DN au 23 juin 2025 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367E93D3-C941-03DE-5611-1225BFB0422C}"/>
              </a:ext>
            </a:extLst>
          </p:cNvPr>
          <p:cNvGrpSpPr/>
          <p:nvPr/>
        </p:nvGrpSpPr>
        <p:grpSpPr>
          <a:xfrm>
            <a:off x="898069" y="1563201"/>
            <a:ext cx="4291448" cy="534498"/>
            <a:chOff x="1050129" y="1563201"/>
            <a:chExt cx="4326467" cy="534498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11D54299-7BF8-272F-ACB3-145688F878B3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Indice final &amp; DN par produit Bombay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C7A667A7-882B-2C8A-819C-A64FFF6921AC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Base 100 : DN au 23 juin 2025, indice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15" name="Slide Number Placeholder 7">
            <a:extLst>
              <a:ext uri="{FF2B5EF4-FFF2-40B4-BE49-F238E27FC236}">
                <a16:creationId xmlns:a16="http://schemas.microsoft.com/office/drawing/2014/main" id="{E90BE98D-7228-E637-313F-1424FFE0AD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30</a:t>
            </a:fld>
            <a:endParaRPr lang="fr-FR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754ED799-D3B6-89B7-4F6A-89CA17DD07A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6385" y="2142868"/>
            <a:ext cx="4921399" cy="401663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434AF8B-AF3B-4588-6196-C61B4958E28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74426" y="2243166"/>
            <a:ext cx="5670365" cy="38746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271587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8A111F-D710-2709-4592-B289570897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25E4EE7-01DD-6928-BC25-B7DB22FCB51F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10" name="Picture 9" descr="A group of wooden barrels stacked on a green stand&#10;&#10;AI-generated content may be incorrect.">
            <a:extLst>
              <a:ext uri="{FF2B5EF4-FFF2-40B4-BE49-F238E27FC236}">
                <a16:creationId xmlns:a16="http://schemas.microsoft.com/office/drawing/2014/main" id="{BC23CB59-2594-2F59-FACA-DAB803EF8FF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1016" y="0"/>
            <a:ext cx="4250983" cy="6405694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D26F66FB-6595-08ED-ECF3-086E984BF3DE}"/>
              </a:ext>
            </a:extLst>
          </p:cNvPr>
          <p:cNvSpPr/>
          <p:nvPr/>
        </p:nvSpPr>
        <p:spPr>
          <a:xfrm>
            <a:off x="532928" y="1403928"/>
            <a:ext cx="7408089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5D3EFC07-0654-7D17-403C-ADFC4CDA9419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9E03B01-2FAA-5102-37D4-AD6A1CCBE863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B008 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D12E1B21-678A-ECB0-E943-E9C577B472DA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b="1" dirty="0">
                <a:solidFill>
                  <a:schemeClr val="accent1"/>
                </a:solidFill>
                <a:latin typeface="Aptos" panose="020B0004020202020204" pitchFamily="34" charset="0"/>
              </a:rPr>
              <a:t>Cas n°2 </a:t>
            </a:r>
            <a:r>
              <a:rPr lang="fr-FR" sz="1600" b="1" dirty="0">
                <a:solidFill>
                  <a:schemeClr val="bg1">
                    <a:lumMod val="85000"/>
                  </a:schemeClr>
                </a:solidFill>
                <a:latin typeface="Aptos" panose="020B0004020202020204" pitchFamily="34" charset="0"/>
              </a:rPr>
              <a:t>|</a:t>
            </a:r>
            <a:r>
              <a:rPr lang="fr-FR" sz="1600" dirty="0">
                <a:latin typeface="Aptos" panose="020B0004020202020204" pitchFamily="34" charset="0"/>
              </a:rPr>
              <a:t> </a:t>
            </a:r>
            <a:r>
              <a:rPr kumimoji="0" lang="fr-FR" sz="1600" b="0" i="1" u="none" strike="noStrike" kern="1200" cap="none" spc="0" normalizeH="0" baseline="0" noProof="0" dirty="0">
                <a:ln>
                  <a:noFill/>
                </a:ln>
                <a:solidFill>
                  <a:srgbClr val="1B1C1F">
                    <a:lumMod val="90000"/>
                    <a:lumOff val="10000"/>
                  </a:srgbClr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roposer les bons produits</a:t>
            </a:r>
            <a:endParaRPr lang="fr-FR" sz="2800" i="1" dirty="0">
              <a:latin typeface="Aptos Black" panose="020B00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53E8491-F8D3-EA2D-ADF7-6AA94E132CD6}"/>
              </a:ext>
            </a:extLst>
          </p:cNvPr>
          <p:cNvSpPr txBox="1"/>
          <p:nvPr/>
        </p:nvSpPr>
        <p:spPr>
          <a:xfrm>
            <a:off x="898070" y="492774"/>
            <a:ext cx="6887030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Existe-t-il un potentiel de référencement sur certains magasins sous adressés ?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49505E38-7659-A7A0-0B07-6553FF974C73}"/>
              </a:ext>
            </a:extLst>
          </p:cNvPr>
          <p:cNvGrpSpPr/>
          <p:nvPr/>
        </p:nvGrpSpPr>
        <p:grpSpPr>
          <a:xfrm>
            <a:off x="898070" y="1563201"/>
            <a:ext cx="6887030" cy="534498"/>
            <a:chOff x="1050129" y="1563201"/>
            <a:chExt cx="4326467" cy="534498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E5060DB1-2A06-E239-E497-3158526BC038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Nombre moyen de produits Bombay proposés en fonction de la taille du rayon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79B79C94-0290-E7EB-9D9F-1EA797BE3FA8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Moyenne glissante +/-50 références, 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19A648BD-2653-1E9D-95A1-1A45F0EFC3F9}"/>
              </a:ext>
            </a:extLst>
          </p:cNvPr>
          <p:cNvSpPr/>
          <p:nvPr/>
        </p:nvSpPr>
        <p:spPr>
          <a:xfrm>
            <a:off x="7946570" y="0"/>
            <a:ext cx="4245430" cy="6405694"/>
          </a:xfrm>
          <a:prstGeom prst="rect">
            <a:avLst/>
          </a:prstGeom>
          <a:solidFill>
            <a:srgbClr val="1B1C1F">
              <a:alpha val="85098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fr-FR" sz="1600" b="1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DE82009E-6E02-E798-33FD-811F092110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31</a:t>
            </a:fld>
            <a:endParaRPr lang="fr-FR" dirty="0"/>
          </a:p>
        </p:txBody>
      </p:sp>
      <p:pic>
        <p:nvPicPr>
          <p:cNvPr id="16" name="Picture 15" descr="A black and white logo&#10;&#10;AI-generated content may be incorrect.">
            <a:extLst>
              <a:ext uri="{FF2B5EF4-FFF2-40B4-BE49-F238E27FC236}">
                <a16:creationId xmlns:a16="http://schemas.microsoft.com/office/drawing/2014/main" id="{67A26727-ADC0-5BF1-0D27-573A8BED43E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6582" y="90715"/>
            <a:ext cx="1475418" cy="396832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7BF1871C-C873-1B35-4948-EFC997F4B951}"/>
              </a:ext>
            </a:extLst>
          </p:cNvPr>
          <p:cNvSpPr txBox="1"/>
          <p:nvPr/>
        </p:nvSpPr>
        <p:spPr>
          <a:xfrm>
            <a:off x="8246286" y="617624"/>
            <a:ext cx="3640913" cy="525401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 dirty="0">
                <a:solidFill>
                  <a:schemeClr val="bg1"/>
                </a:solidFill>
                <a:latin typeface="Aptos" panose="020B0004020202020204" pitchFamily="34" charset="0"/>
              </a:rPr>
              <a:t>Part des points de ventes ayant un potentiel de renforcement de l’offre.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50F5851-5A37-A38E-E8D2-4DC2E9010984}"/>
              </a:ext>
            </a:extLst>
          </p:cNvPr>
          <p:cNvSpPr txBox="1"/>
          <p:nvPr/>
        </p:nvSpPr>
        <p:spPr>
          <a:xfrm>
            <a:off x="8246286" y="3642242"/>
            <a:ext cx="3640913" cy="309958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 dirty="0">
                <a:solidFill>
                  <a:schemeClr val="bg1"/>
                </a:solidFill>
                <a:latin typeface="Aptos" panose="020B0004020202020204" pitchFamily="34" charset="0"/>
              </a:rPr>
              <a:t>Part des magasins sous adressés par région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F0CCB60-2165-8B06-BE67-50B32C5AC74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98071" y="2276061"/>
            <a:ext cx="6557429" cy="3892426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CABF8ED4-3BED-9759-0386-2E35C9DFBBA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102487" y="1231982"/>
            <a:ext cx="4086132" cy="2334715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FAA10478-4E71-98D8-A4CC-E443094A093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246288" y="4104569"/>
            <a:ext cx="3848742" cy="21762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779077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C17EBA-0E76-B1AD-9A9B-75059F1E7A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85E4D38-35D5-49AF-2E6B-FC5E05B35951}"/>
              </a:ext>
            </a:extLst>
          </p:cNvPr>
          <p:cNvSpPr/>
          <p:nvPr/>
        </p:nvSpPr>
        <p:spPr>
          <a:xfrm>
            <a:off x="-1" y="1403928"/>
            <a:ext cx="7524748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9601014-0959-1A12-4118-2DA95C02243E}"/>
              </a:ext>
            </a:extLst>
          </p:cNvPr>
          <p:cNvSpPr/>
          <p:nvPr/>
        </p:nvSpPr>
        <p:spPr>
          <a:xfrm>
            <a:off x="532928" y="1403928"/>
            <a:ext cx="6991819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C389C14A-F02D-D516-FB03-7BAC7B1EC768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F15C177-81B5-EF14-8ED6-6669BD6DDAA3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B009 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0CB0ED3A-1342-0A0B-EC85-4026C91646B6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b="1" dirty="0">
                <a:solidFill>
                  <a:schemeClr val="accent1"/>
                </a:solidFill>
                <a:latin typeface="Aptos" panose="020B0004020202020204" pitchFamily="34" charset="0"/>
              </a:rPr>
              <a:t>Cas n°2 </a:t>
            </a:r>
            <a:r>
              <a:rPr lang="fr-FR" sz="1600" b="1" dirty="0">
                <a:solidFill>
                  <a:schemeClr val="bg1">
                    <a:lumMod val="85000"/>
                  </a:schemeClr>
                </a:solidFill>
                <a:latin typeface="Aptos" panose="020B0004020202020204" pitchFamily="34" charset="0"/>
              </a:rPr>
              <a:t>|</a:t>
            </a:r>
            <a:r>
              <a:rPr lang="fr-FR" sz="1600" dirty="0">
                <a:latin typeface="Aptos" panose="020B0004020202020204" pitchFamily="34" charset="0"/>
              </a:rPr>
              <a:t> </a:t>
            </a:r>
            <a:r>
              <a:rPr kumimoji="0" lang="fr-FR" sz="1600" b="0" i="1" u="none" strike="noStrike" kern="1200" cap="none" spc="0" normalizeH="0" baseline="0" noProof="0" dirty="0">
                <a:ln>
                  <a:noFill/>
                </a:ln>
                <a:solidFill>
                  <a:srgbClr val="1B1C1F">
                    <a:lumMod val="90000"/>
                    <a:lumOff val="10000"/>
                  </a:srgbClr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roposer les bons produits</a:t>
            </a:r>
            <a:endParaRPr lang="fr-FR" sz="2800" i="1" dirty="0">
              <a:latin typeface="Aptos Black" panose="020B00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051083D-5AB7-F1A8-7163-95FCC6B0B78B}"/>
              </a:ext>
            </a:extLst>
          </p:cNvPr>
          <p:cNvSpPr txBox="1"/>
          <p:nvPr/>
        </p:nvSpPr>
        <p:spPr>
          <a:xfrm>
            <a:off x="898069" y="492774"/>
            <a:ext cx="6417129" cy="1202510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Y a-t-il une opportunité de mieux référencer le best seller (Gin Bombay Sapphire 70cl) ?</a:t>
            </a:r>
          </a:p>
          <a:p>
            <a:endParaRPr lang="fr-FR" sz="2400" b="1" dirty="0">
              <a:latin typeface="Aptos Black" panose="020B000402020202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6172B84C-DCFE-7154-6B1B-007300F5FA98}"/>
              </a:ext>
            </a:extLst>
          </p:cNvPr>
          <p:cNvGrpSpPr/>
          <p:nvPr/>
        </p:nvGrpSpPr>
        <p:grpSpPr>
          <a:xfrm>
            <a:off x="898070" y="1563201"/>
            <a:ext cx="6887030" cy="534498"/>
            <a:chOff x="1050129" y="1563201"/>
            <a:chExt cx="4326467" cy="534498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7CC47883-ED51-2CE9-596E-1CFF9DABB430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Part des magasins adressés ne proposant pas Gin Bombay Sapphire 70cl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2D5F5685-CA93-FADF-2CF4-CC18601A8264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pic>
        <p:nvPicPr>
          <p:cNvPr id="25" name="Picture 24" descr="A black and grey logo&#10;&#10;AI-generated content may be incorrect.">
            <a:extLst>
              <a:ext uri="{FF2B5EF4-FFF2-40B4-BE49-F238E27FC236}">
                <a16:creationId xmlns:a16="http://schemas.microsoft.com/office/drawing/2014/main" id="{B7D23427-E3C2-12D2-47F4-F058D3D414D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pic>
        <p:nvPicPr>
          <p:cNvPr id="26" name="Picture 25" descr="Chess pieces">
            <a:extLst>
              <a:ext uri="{FF2B5EF4-FFF2-40B4-BE49-F238E27FC236}">
                <a16:creationId xmlns:a16="http://schemas.microsoft.com/office/drawing/2014/main" id="{78B3443A-1052-0791-745E-94B683A2A99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59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68594" t="1" r="1" b="2169"/>
          <a:stretch>
            <a:fillRect/>
          </a:stretch>
        </p:blipFill>
        <p:spPr>
          <a:xfrm>
            <a:off x="7524748" y="0"/>
            <a:ext cx="4667251" cy="6858000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D86B0DD8-09B0-7AF0-EF8F-5FB1E3C42A70}"/>
              </a:ext>
            </a:extLst>
          </p:cNvPr>
          <p:cNvSpPr/>
          <p:nvPr/>
        </p:nvSpPr>
        <p:spPr>
          <a:xfrm>
            <a:off x="7524749" y="0"/>
            <a:ext cx="4667251" cy="6858000"/>
          </a:xfrm>
          <a:prstGeom prst="rect">
            <a:avLst/>
          </a:prstGeom>
          <a:solidFill>
            <a:srgbClr val="303237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57424191-77D1-1BAC-5C36-54A0B6A7ADC7}"/>
              </a:ext>
            </a:extLst>
          </p:cNvPr>
          <p:cNvGrpSpPr/>
          <p:nvPr/>
        </p:nvGrpSpPr>
        <p:grpSpPr>
          <a:xfrm>
            <a:off x="8031220" y="491349"/>
            <a:ext cx="4044666" cy="833178"/>
            <a:chOff x="6594305" y="491349"/>
            <a:chExt cx="4044666" cy="833178"/>
          </a:xfrm>
        </p:grpSpPr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3F726431-692F-80C0-704F-4B6946ECD576}"/>
                </a:ext>
              </a:extLst>
            </p:cNvPr>
            <p:cNvSpPr txBox="1"/>
            <p:nvPr/>
          </p:nvSpPr>
          <p:spPr>
            <a:xfrm>
              <a:off x="6988319" y="491349"/>
              <a:ext cx="3650652" cy="833178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2400" b="1" dirty="0">
                  <a:solidFill>
                    <a:schemeClr val="bg1"/>
                  </a:solidFill>
                  <a:latin typeface="Aptos Black" panose="020B0004020202020204" pitchFamily="34" charset="0"/>
                </a:rPr>
                <a:t>Quels sont les magasins à prioriser ?</a:t>
              </a:r>
              <a:endParaRPr lang="fr-FR" sz="2800" b="1" dirty="0">
                <a:solidFill>
                  <a:schemeClr val="bg1"/>
                </a:solidFill>
                <a:latin typeface="Aptos Black" panose="020B0004020202020204" pitchFamily="34" charset="0"/>
              </a:endParaRPr>
            </a:p>
          </p:txBody>
        </p:sp>
        <p:sp>
          <p:nvSpPr>
            <p:cNvPr id="30" name="Rectangle: Rounded Corners 29">
              <a:extLst>
                <a:ext uri="{FF2B5EF4-FFF2-40B4-BE49-F238E27FC236}">
                  <a16:creationId xmlns:a16="http://schemas.microsoft.com/office/drawing/2014/main" id="{B176942D-B35E-8BB2-70E9-EB5D106249C9}"/>
                </a:ext>
              </a:extLst>
            </p:cNvPr>
            <p:cNvSpPr/>
            <p:nvPr/>
          </p:nvSpPr>
          <p:spPr>
            <a:xfrm>
              <a:off x="6594305" y="611296"/>
              <a:ext cx="226904" cy="226904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en-US" sz="1600" b="1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sp>
        <p:nvSpPr>
          <p:cNvPr id="31" name="Slide Number Placeholder 5">
            <a:extLst>
              <a:ext uri="{FF2B5EF4-FFF2-40B4-BE49-F238E27FC236}">
                <a16:creationId xmlns:a16="http://schemas.microsoft.com/office/drawing/2014/main" id="{7DD1480A-A87F-009B-9278-2CE9093035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599" y="6356350"/>
            <a:ext cx="3220595" cy="365125"/>
          </a:xfrm>
        </p:spPr>
        <p:txBody>
          <a:bodyPr/>
          <a:lstStyle/>
          <a:p>
            <a:fld id="{22EF78A9-82AA-4C6F-AD45-43DF650E2802}" type="slidenum">
              <a:rPr lang="fr-FR" smtClean="0">
                <a:solidFill>
                  <a:schemeClr val="bg1"/>
                </a:solidFill>
              </a:rPr>
              <a:t>32</a:t>
            </a:fld>
            <a:endParaRPr lang="fr-FR" dirty="0">
              <a:solidFill>
                <a:schemeClr val="bg1"/>
              </a:solidFill>
            </a:endParaRPr>
          </a:p>
        </p:txBody>
      </p:sp>
      <p:pic>
        <p:nvPicPr>
          <p:cNvPr id="32" name="Picture 31" descr="A black and white logo&#10;&#10;AI-generated content may be incorrect.">
            <a:extLst>
              <a:ext uri="{FF2B5EF4-FFF2-40B4-BE49-F238E27FC236}">
                <a16:creationId xmlns:a16="http://schemas.microsoft.com/office/drawing/2014/main" id="{C36C6ED1-1622-DEEF-C42E-98E0A237DD1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6582" y="90715"/>
            <a:ext cx="1475418" cy="396832"/>
          </a:xfrm>
          <a:prstGeom prst="rect">
            <a:avLst/>
          </a:prstGeom>
        </p:spPr>
      </p:pic>
      <p:graphicFrame>
        <p:nvGraphicFramePr>
          <p:cNvPr id="33" name="Table 32">
            <a:extLst>
              <a:ext uri="{FF2B5EF4-FFF2-40B4-BE49-F238E27FC236}">
                <a16:creationId xmlns:a16="http://schemas.microsoft.com/office/drawing/2014/main" id="{CE87BDA4-32FF-BB6A-E040-68D80B936CF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99161705"/>
              </p:ext>
            </p:extLst>
          </p:nvPr>
        </p:nvGraphicFramePr>
        <p:xfrm>
          <a:off x="7947782" y="1482475"/>
          <a:ext cx="3773035" cy="4828295"/>
        </p:xfrm>
        <a:graphic>
          <a:graphicData uri="http://schemas.openxmlformats.org/drawingml/2006/table">
            <a:tbl>
              <a:tblPr firstRow="1" bandRow="1">
                <a:effectLst>
                  <a:outerShdw blurRad="101600" sx="102000" sy="102000" algn="ctr" rotWithShape="0">
                    <a:schemeClr val="bg1">
                      <a:alpha val="20000"/>
                    </a:schemeClr>
                  </a:outerShdw>
                </a:effectLst>
                <a:tableStyleId>{073A0DAA-6AF3-43AB-8588-CEC1D06C72B9}</a:tableStyleId>
              </a:tblPr>
              <a:tblGrid>
                <a:gridCol w="443150">
                  <a:extLst>
                    <a:ext uri="{9D8B030D-6E8A-4147-A177-3AD203B41FA5}">
                      <a16:colId xmlns:a16="http://schemas.microsoft.com/office/drawing/2014/main" val="4057496431"/>
                    </a:ext>
                  </a:extLst>
                </a:gridCol>
                <a:gridCol w="1978227">
                  <a:extLst>
                    <a:ext uri="{9D8B030D-6E8A-4147-A177-3AD203B41FA5}">
                      <a16:colId xmlns:a16="http://schemas.microsoft.com/office/drawing/2014/main" val="4090359126"/>
                    </a:ext>
                  </a:extLst>
                </a:gridCol>
                <a:gridCol w="577516">
                  <a:extLst>
                    <a:ext uri="{9D8B030D-6E8A-4147-A177-3AD203B41FA5}">
                      <a16:colId xmlns:a16="http://schemas.microsoft.com/office/drawing/2014/main" val="1400896486"/>
                    </a:ext>
                  </a:extLst>
                </a:gridCol>
                <a:gridCol w="774142">
                  <a:extLst>
                    <a:ext uri="{9D8B030D-6E8A-4147-A177-3AD203B41FA5}">
                      <a16:colId xmlns:a16="http://schemas.microsoft.com/office/drawing/2014/main" val="3900701974"/>
                    </a:ext>
                  </a:extLst>
                </a:gridCol>
              </a:tblGrid>
              <a:tr h="376675">
                <a:tc>
                  <a:txBody>
                    <a:bodyPr/>
                    <a:lstStyle/>
                    <a:p>
                      <a:pPr algn="ctr"/>
                      <a:r>
                        <a:rPr lang="fr-FR" sz="1100" dirty="0">
                          <a:solidFill>
                            <a:schemeClr val="bg1"/>
                          </a:solidFill>
                          <a:latin typeface="Aptos Black" panose="020B0004020202020204" pitchFamily="34" charset="0"/>
                        </a:rPr>
                        <a:t>Score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dirty="0"/>
                        <a:t>Point de vente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dirty="0"/>
                        <a:t>Code </a:t>
                      </a:r>
                    </a:p>
                    <a:p>
                      <a:pPr algn="ctr"/>
                      <a:r>
                        <a:rPr lang="fr-FR" sz="1100" dirty="0"/>
                        <a:t>post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dirty="0"/>
                        <a:t>Dernière observatio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34086938"/>
                  </a:ext>
                </a:extLst>
              </a:tr>
              <a:tr h="445162">
                <a:tc>
                  <a:txBody>
                    <a:bodyPr/>
                    <a:lstStyle/>
                    <a:p>
                      <a:pPr algn="r" fontAlgn="b"/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07232"/>
                  </a:ext>
                </a:extLst>
              </a:tr>
              <a:tr h="445162">
                <a:tc>
                  <a:txBody>
                    <a:bodyPr/>
                    <a:lstStyle/>
                    <a:p>
                      <a:pPr algn="r" fontAlgn="b"/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2952750"/>
                  </a:ext>
                </a:extLst>
              </a:tr>
              <a:tr h="445162">
                <a:tc>
                  <a:txBody>
                    <a:bodyPr/>
                    <a:lstStyle/>
                    <a:p>
                      <a:pPr algn="r" fontAlgn="b"/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1546981"/>
                  </a:ext>
                </a:extLst>
              </a:tr>
              <a:tr h="445162">
                <a:tc>
                  <a:txBody>
                    <a:bodyPr/>
                    <a:lstStyle/>
                    <a:p>
                      <a:pPr algn="r" fontAlgn="b"/>
                      <a:endParaRPr lang="en-US" sz="1200" b="0" i="0" u="none" strike="noStrike" dirty="0">
                        <a:solidFill>
                          <a:schemeClr val="bg1">
                            <a:lumMod val="85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3138766"/>
                  </a:ext>
                </a:extLst>
              </a:tr>
              <a:tr h="445162">
                <a:tc>
                  <a:txBody>
                    <a:bodyPr/>
                    <a:lstStyle/>
                    <a:p>
                      <a:pPr algn="r" fontAlgn="b"/>
                      <a:endParaRPr lang="en-US" sz="1200" b="0" i="0" u="none" strike="noStrike" dirty="0">
                        <a:solidFill>
                          <a:schemeClr val="bg1">
                            <a:lumMod val="85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658272"/>
                  </a:ext>
                </a:extLst>
              </a:tr>
              <a:tr h="445162">
                <a:tc>
                  <a:txBody>
                    <a:bodyPr/>
                    <a:lstStyle/>
                    <a:p>
                      <a:pPr algn="r" fontAlgn="b"/>
                      <a:endParaRPr lang="en-US" sz="1200" b="0" i="0" u="none" strike="noStrike" dirty="0">
                        <a:solidFill>
                          <a:schemeClr val="bg1">
                            <a:lumMod val="85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8109527"/>
                  </a:ext>
                </a:extLst>
              </a:tr>
              <a:tr h="445162">
                <a:tc>
                  <a:txBody>
                    <a:bodyPr/>
                    <a:lstStyle/>
                    <a:p>
                      <a:pPr algn="r" fontAlgn="b"/>
                      <a:endParaRPr lang="en-US" sz="1200" b="0" i="0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079238"/>
                  </a:ext>
                </a:extLst>
              </a:tr>
              <a:tr h="445162">
                <a:tc>
                  <a:txBody>
                    <a:bodyPr/>
                    <a:lstStyle/>
                    <a:p>
                      <a:pPr algn="r" fontAlgn="b"/>
                      <a:endParaRPr lang="en-US" sz="1200" b="0" i="0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0060975"/>
                  </a:ext>
                </a:extLst>
              </a:tr>
              <a:tr h="445162">
                <a:tc>
                  <a:txBody>
                    <a:bodyPr/>
                    <a:lstStyle/>
                    <a:p>
                      <a:pPr algn="r" fontAlgn="b"/>
                      <a:endParaRPr lang="en-US" sz="1200" b="0" i="0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978177"/>
                  </a:ext>
                </a:extLst>
              </a:tr>
              <a:tr h="445162">
                <a:tc>
                  <a:txBody>
                    <a:bodyPr/>
                    <a:lstStyle/>
                    <a:p>
                      <a:pPr algn="r" fontAlgn="b"/>
                      <a:endParaRPr lang="en-US" sz="1200" b="0" i="0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5199767"/>
                  </a:ext>
                </a:extLst>
              </a:tr>
            </a:tbl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ED8267F6-6D95-83DE-160C-356B4A2B7E0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746" y="2181534"/>
            <a:ext cx="7411436" cy="40651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513552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DA9715-C509-A687-BC3A-8AE65BC21B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29">
            <a:extLst>
              <a:ext uri="{FF2B5EF4-FFF2-40B4-BE49-F238E27FC236}">
                <a16:creationId xmlns:a16="http://schemas.microsoft.com/office/drawing/2014/main" id="{24760CDE-C9AF-6B9A-82D8-2E419E64FA41}"/>
              </a:ext>
            </a:extLst>
          </p:cNvPr>
          <p:cNvSpPr/>
          <p:nvPr/>
        </p:nvSpPr>
        <p:spPr>
          <a:xfrm>
            <a:off x="-2" y="1403928"/>
            <a:ext cx="7941019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8" name="Picture 7" descr="A counter with a variety of food items in it&#10;&#10;AI-generated content may be incorrect.">
            <a:extLst>
              <a:ext uri="{FF2B5EF4-FFF2-40B4-BE49-F238E27FC236}">
                <a16:creationId xmlns:a16="http://schemas.microsoft.com/office/drawing/2014/main" id="{C6543F69-0791-E038-0216-54FCE55CFB0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722"/>
          <a:stretch>
            <a:fillRect/>
          </a:stretch>
        </p:blipFill>
        <p:spPr>
          <a:xfrm>
            <a:off x="7941017" y="0"/>
            <a:ext cx="4250983" cy="640047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ACF9CEEB-6655-1579-197E-F87FC827C564}"/>
              </a:ext>
            </a:extLst>
          </p:cNvPr>
          <p:cNvSpPr/>
          <p:nvPr/>
        </p:nvSpPr>
        <p:spPr>
          <a:xfrm>
            <a:off x="532928" y="1403928"/>
            <a:ext cx="7395903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2E3FE4B8-2326-13E8-0350-6DEF43436155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ED76597-9459-EFDD-4EE6-205A45AACA5C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B010 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8A8DAAE4-6B07-6374-1DD0-37EEE514D94B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b="1" dirty="0">
                <a:solidFill>
                  <a:schemeClr val="accent1"/>
                </a:solidFill>
                <a:latin typeface="Aptos" panose="020B0004020202020204" pitchFamily="34" charset="0"/>
              </a:rPr>
              <a:t>Cas n°3 </a:t>
            </a:r>
            <a:r>
              <a:rPr lang="fr-FR" sz="1600" b="1" dirty="0">
                <a:solidFill>
                  <a:schemeClr val="bg1">
                    <a:lumMod val="85000"/>
                  </a:schemeClr>
                </a:solidFill>
                <a:latin typeface="Aptos" panose="020B0004020202020204" pitchFamily="34" charset="0"/>
              </a:rPr>
              <a:t>|</a:t>
            </a:r>
            <a:r>
              <a:rPr lang="fr-FR" sz="1600" dirty="0">
                <a:latin typeface="Aptos" panose="020B0004020202020204" pitchFamily="34" charset="0"/>
              </a:rPr>
              <a:t> </a:t>
            </a:r>
            <a:r>
              <a:rPr kumimoji="0" lang="fr-FR" sz="1600" b="0" i="1" u="none" strike="noStrike" kern="1200" cap="none" spc="0" normalizeH="0" baseline="0" noProof="0" dirty="0">
                <a:ln>
                  <a:noFill/>
                </a:ln>
                <a:solidFill>
                  <a:srgbClr val="1B1C1F">
                    <a:lumMod val="90000"/>
                    <a:lumOff val="10000"/>
                  </a:srgbClr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trôler l’érosion</a:t>
            </a:r>
            <a:endParaRPr lang="fr-FR" sz="2800" i="1" dirty="0">
              <a:latin typeface="Aptos Black" panose="020B00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476E5BB-A304-013B-2489-A0ADBC066968}"/>
              </a:ext>
            </a:extLst>
          </p:cNvPr>
          <p:cNvSpPr txBox="1"/>
          <p:nvPr/>
        </p:nvSpPr>
        <p:spPr>
          <a:xfrm>
            <a:off x="898070" y="492774"/>
            <a:ext cx="6887030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le est la dynamique de Gin Bombay Sapphire 70cl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A8353465-12F5-B9E9-E552-83AC1748F9D5}"/>
              </a:ext>
            </a:extLst>
          </p:cNvPr>
          <p:cNvGrpSpPr/>
          <p:nvPr/>
        </p:nvGrpSpPr>
        <p:grpSpPr>
          <a:xfrm>
            <a:off x="898070" y="1563201"/>
            <a:ext cx="6887030" cy="534498"/>
            <a:chOff x="1050129" y="1563201"/>
            <a:chExt cx="4326467" cy="534498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90D3CB0C-7336-78FD-665D-21854D48D5C7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Actualités de la distribution de Gin Bombay Sapphire 70cl.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BA75215E-506F-DF22-1485-8890712F7FFD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14" name="Slide Number Placeholder 7">
            <a:extLst>
              <a:ext uri="{FF2B5EF4-FFF2-40B4-BE49-F238E27FC236}">
                <a16:creationId xmlns:a16="http://schemas.microsoft.com/office/drawing/2014/main" id="{544D912C-FA2A-3B3F-444C-0E3F8420C2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33</a:t>
            </a:fld>
            <a:endParaRPr lang="fr-FR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E58D76E-5D8B-9676-C484-FAE2C8412184}"/>
              </a:ext>
            </a:extLst>
          </p:cNvPr>
          <p:cNvSpPr/>
          <p:nvPr/>
        </p:nvSpPr>
        <p:spPr>
          <a:xfrm>
            <a:off x="7946570" y="0"/>
            <a:ext cx="4245430" cy="6405694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fr-FR" sz="1600" b="1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27" name="Picture 26" descr="A black and white logo&#10;&#10;AI-generated content may be incorrect.">
            <a:extLst>
              <a:ext uri="{FF2B5EF4-FFF2-40B4-BE49-F238E27FC236}">
                <a16:creationId xmlns:a16="http://schemas.microsoft.com/office/drawing/2014/main" id="{3F109BB1-0595-9D8F-1BDE-9AAA9C9D93A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6582" y="90715"/>
            <a:ext cx="1475418" cy="396832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C0E9310D-259D-C199-9D0E-2D18DCAA1778}"/>
              </a:ext>
            </a:extLst>
          </p:cNvPr>
          <p:cNvSpPr txBox="1"/>
          <p:nvPr/>
        </p:nvSpPr>
        <p:spPr>
          <a:xfrm>
            <a:off x="8246286" y="617624"/>
            <a:ext cx="3640913" cy="525401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>
                <a:solidFill>
                  <a:schemeClr val="bg1"/>
                </a:solidFill>
                <a:latin typeface="Aptos" panose="020B0004020202020204" pitchFamily="34" charset="0"/>
              </a:rPr>
              <a:t>Évolution de la distribution numérique de Gin Bombay Sapphire 70cl.</a:t>
            </a:r>
            <a:endParaRPr lang="fr-FR" sz="1400" b="1" dirty="0">
              <a:solidFill>
                <a:schemeClr val="bg1"/>
              </a:solidFill>
              <a:latin typeface="Aptos" panose="020B00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3C461E2-D1F4-05ED-8CB5-0F989E73D4B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70086" y="1273102"/>
            <a:ext cx="3898235" cy="481681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2CF549E-B660-0E0E-AD3D-CAECD99D51B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9461" y="2175676"/>
            <a:ext cx="7473202" cy="40710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321645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DA9715-C509-A687-BC3A-8AE65BC21B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29">
            <a:extLst>
              <a:ext uri="{FF2B5EF4-FFF2-40B4-BE49-F238E27FC236}">
                <a16:creationId xmlns:a16="http://schemas.microsoft.com/office/drawing/2014/main" id="{24760CDE-C9AF-6B9A-82D8-2E419E64FA41}"/>
              </a:ext>
            </a:extLst>
          </p:cNvPr>
          <p:cNvSpPr/>
          <p:nvPr/>
        </p:nvSpPr>
        <p:spPr>
          <a:xfrm>
            <a:off x="-2" y="1403928"/>
            <a:ext cx="7941019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8" name="Picture 7" descr="A counter with a variety of food items in it&#10;&#10;AI-generated content may be incorrect.">
            <a:extLst>
              <a:ext uri="{FF2B5EF4-FFF2-40B4-BE49-F238E27FC236}">
                <a16:creationId xmlns:a16="http://schemas.microsoft.com/office/drawing/2014/main" id="{C6543F69-0791-E038-0216-54FCE55CFB0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722"/>
          <a:stretch>
            <a:fillRect/>
          </a:stretch>
        </p:blipFill>
        <p:spPr>
          <a:xfrm>
            <a:off x="7941017" y="0"/>
            <a:ext cx="4250983" cy="640047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ACF9CEEB-6655-1579-197E-F87FC827C564}"/>
              </a:ext>
            </a:extLst>
          </p:cNvPr>
          <p:cNvSpPr/>
          <p:nvPr/>
        </p:nvSpPr>
        <p:spPr>
          <a:xfrm>
            <a:off x="532928" y="1403928"/>
            <a:ext cx="7395903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2E3FE4B8-2326-13E8-0350-6DEF43436155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ED76597-9459-EFDD-4EE6-205A45AACA5C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B010 [@SUPR@]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8A8DAAE4-6B07-6374-1DD0-37EEE514D94B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b="1" dirty="0">
                <a:solidFill>
                  <a:schemeClr val="accent1"/>
                </a:solidFill>
                <a:latin typeface="Aptos" panose="020B0004020202020204" pitchFamily="34" charset="0"/>
              </a:rPr>
              <a:t>Cas n°3 </a:t>
            </a:r>
            <a:r>
              <a:rPr lang="fr-FR" sz="1600" b="1" dirty="0">
                <a:solidFill>
                  <a:schemeClr val="bg1">
                    <a:lumMod val="85000"/>
                  </a:schemeClr>
                </a:solidFill>
                <a:latin typeface="Aptos" panose="020B0004020202020204" pitchFamily="34" charset="0"/>
              </a:rPr>
              <a:t>|</a:t>
            </a:r>
            <a:r>
              <a:rPr lang="fr-FR" sz="1600" dirty="0">
                <a:latin typeface="Aptos" panose="020B0004020202020204" pitchFamily="34" charset="0"/>
              </a:rPr>
              <a:t> </a:t>
            </a:r>
            <a:r>
              <a:rPr kumimoji="0" lang="fr-FR" sz="1600" b="0" i="1" u="none" strike="noStrike" kern="1200" cap="none" spc="0" normalizeH="0" baseline="0" noProof="0" dirty="0">
                <a:ln>
                  <a:noFill/>
                </a:ln>
                <a:solidFill>
                  <a:srgbClr val="1B1C1F">
                    <a:lumMod val="90000"/>
                    <a:lumOff val="10000"/>
                  </a:srgbClr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trôler l’érosion</a:t>
            </a:r>
            <a:endParaRPr lang="fr-FR" sz="2800" i="1" dirty="0">
              <a:latin typeface="Aptos Black" panose="020B00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476E5BB-A304-013B-2489-A0ADBC066968}"/>
              </a:ext>
            </a:extLst>
          </p:cNvPr>
          <p:cNvSpPr txBox="1"/>
          <p:nvPr/>
        </p:nvSpPr>
        <p:spPr>
          <a:xfrm>
            <a:off x="898070" y="492774"/>
            <a:ext cx="6887030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le est la dynamique de Gin Bombay Sapphire East 70cl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A8353465-12F5-B9E9-E552-83AC1748F9D5}"/>
              </a:ext>
            </a:extLst>
          </p:cNvPr>
          <p:cNvGrpSpPr/>
          <p:nvPr/>
        </p:nvGrpSpPr>
        <p:grpSpPr>
          <a:xfrm>
            <a:off x="898070" y="1563201"/>
            <a:ext cx="6887030" cy="534498"/>
            <a:chOff x="1050129" y="1563201"/>
            <a:chExt cx="4326467" cy="534498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90D3CB0C-7336-78FD-665D-21854D48D5C7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Actualités de la distribution de Gin Bombay Sapphire East 70cl.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BA75215E-506F-DF22-1485-8890712F7FFD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14" name="Slide Number Placeholder 7">
            <a:extLst>
              <a:ext uri="{FF2B5EF4-FFF2-40B4-BE49-F238E27FC236}">
                <a16:creationId xmlns:a16="http://schemas.microsoft.com/office/drawing/2014/main" id="{544D912C-FA2A-3B3F-444C-0E3F8420C2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34</a:t>
            </a:fld>
            <a:endParaRPr lang="fr-FR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E58D76E-5D8B-9676-C484-FAE2C8412184}"/>
              </a:ext>
            </a:extLst>
          </p:cNvPr>
          <p:cNvSpPr/>
          <p:nvPr/>
        </p:nvSpPr>
        <p:spPr>
          <a:xfrm>
            <a:off x="7946570" y="0"/>
            <a:ext cx="4245430" cy="6405694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fr-FR" sz="1600" b="1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27" name="Picture 26" descr="A black and white logo&#10;&#10;AI-generated content may be incorrect.">
            <a:extLst>
              <a:ext uri="{FF2B5EF4-FFF2-40B4-BE49-F238E27FC236}">
                <a16:creationId xmlns:a16="http://schemas.microsoft.com/office/drawing/2014/main" id="{3F109BB1-0595-9D8F-1BDE-9AAA9C9D93A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6582" y="90715"/>
            <a:ext cx="1475418" cy="396832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C0E9310D-259D-C199-9D0E-2D18DCAA1778}"/>
              </a:ext>
            </a:extLst>
          </p:cNvPr>
          <p:cNvSpPr txBox="1"/>
          <p:nvPr/>
        </p:nvSpPr>
        <p:spPr>
          <a:xfrm>
            <a:off x="8246286" y="617624"/>
            <a:ext cx="3640913" cy="525401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>
                <a:solidFill>
                  <a:schemeClr val="bg1"/>
                </a:solidFill>
                <a:latin typeface="Aptos" panose="020B0004020202020204" pitchFamily="34" charset="0"/>
              </a:rPr>
              <a:t>Évolution de la distribution numérique de Gin Bombay Sapphire East 70cl.</a:t>
            </a:r>
            <a:endParaRPr lang="fr-FR" sz="1400" b="1" dirty="0">
              <a:solidFill>
                <a:schemeClr val="bg1"/>
              </a:solidFill>
              <a:latin typeface="Aptos" panose="020B00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781B823-ABF7-C099-75C9-7DF3C4B522B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70086" y="1273102"/>
            <a:ext cx="3898235" cy="481681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0CFE4992-839A-F21C-9AC3-80CE3657E19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9461" y="2175676"/>
            <a:ext cx="7473202" cy="40710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001775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DA9715-C509-A687-BC3A-8AE65BC21B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29">
            <a:extLst>
              <a:ext uri="{FF2B5EF4-FFF2-40B4-BE49-F238E27FC236}">
                <a16:creationId xmlns:a16="http://schemas.microsoft.com/office/drawing/2014/main" id="{24760CDE-C9AF-6B9A-82D8-2E419E64FA41}"/>
              </a:ext>
            </a:extLst>
          </p:cNvPr>
          <p:cNvSpPr/>
          <p:nvPr/>
        </p:nvSpPr>
        <p:spPr>
          <a:xfrm>
            <a:off x="-2" y="1403928"/>
            <a:ext cx="7941019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8" name="Picture 7" descr="A counter with a variety of food items in it&#10;&#10;AI-generated content may be incorrect.">
            <a:extLst>
              <a:ext uri="{FF2B5EF4-FFF2-40B4-BE49-F238E27FC236}">
                <a16:creationId xmlns:a16="http://schemas.microsoft.com/office/drawing/2014/main" id="{C6543F69-0791-E038-0216-54FCE55CFB0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722"/>
          <a:stretch>
            <a:fillRect/>
          </a:stretch>
        </p:blipFill>
        <p:spPr>
          <a:xfrm>
            <a:off x="7941017" y="0"/>
            <a:ext cx="4250983" cy="640047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ACF9CEEB-6655-1579-197E-F87FC827C564}"/>
              </a:ext>
            </a:extLst>
          </p:cNvPr>
          <p:cNvSpPr/>
          <p:nvPr/>
        </p:nvSpPr>
        <p:spPr>
          <a:xfrm>
            <a:off x="532928" y="1403928"/>
            <a:ext cx="7395903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2E3FE4B8-2326-13E8-0350-6DEF43436155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ED76597-9459-EFDD-4EE6-205A45AACA5C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B010 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8A8DAAE4-6B07-6374-1DD0-37EEE514D94B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b="1" dirty="0">
                <a:solidFill>
                  <a:schemeClr val="accent1"/>
                </a:solidFill>
                <a:latin typeface="Aptos" panose="020B0004020202020204" pitchFamily="34" charset="0"/>
              </a:rPr>
              <a:t>Cas n°3 </a:t>
            </a:r>
            <a:r>
              <a:rPr lang="fr-FR" sz="1600" b="1" dirty="0">
                <a:solidFill>
                  <a:schemeClr val="bg1">
                    <a:lumMod val="85000"/>
                  </a:schemeClr>
                </a:solidFill>
                <a:latin typeface="Aptos" panose="020B0004020202020204" pitchFamily="34" charset="0"/>
              </a:rPr>
              <a:t>|</a:t>
            </a:r>
            <a:r>
              <a:rPr lang="fr-FR" sz="1600" dirty="0">
                <a:latin typeface="Aptos" panose="020B0004020202020204" pitchFamily="34" charset="0"/>
              </a:rPr>
              <a:t> </a:t>
            </a:r>
            <a:r>
              <a:rPr kumimoji="0" lang="fr-FR" sz="1600" b="0" i="1" u="none" strike="noStrike" kern="1200" cap="none" spc="0" normalizeH="0" baseline="0" noProof="0" dirty="0">
                <a:ln>
                  <a:noFill/>
                </a:ln>
                <a:solidFill>
                  <a:srgbClr val="1B1C1F">
                    <a:lumMod val="90000"/>
                    <a:lumOff val="10000"/>
                  </a:srgbClr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trôler l’érosion</a:t>
            </a:r>
            <a:endParaRPr lang="fr-FR" sz="2800" i="1" dirty="0">
              <a:latin typeface="Aptos Black" panose="020B00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476E5BB-A304-013B-2489-A0ADBC066968}"/>
              </a:ext>
            </a:extLst>
          </p:cNvPr>
          <p:cNvSpPr txBox="1"/>
          <p:nvPr/>
        </p:nvSpPr>
        <p:spPr>
          <a:xfrm>
            <a:off x="898070" y="492774"/>
            <a:ext cx="6887030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le est la dynamique de Bombay Citron Pressé 70cl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A8353465-12F5-B9E9-E552-83AC1748F9D5}"/>
              </a:ext>
            </a:extLst>
          </p:cNvPr>
          <p:cNvGrpSpPr/>
          <p:nvPr/>
        </p:nvGrpSpPr>
        <p:grpSpPr>
          <a:xfrm>
            <a:off x="898070" y="1563201"/>
            <a:ext cx="6887030" cy="534498"/>
            <a:chOff x="1050129" y="1563201"/>
            <a:chExt cx="4326467" cy="534498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90D3CB0C-7336-78FD-665D-21854D48D5C7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Actualités de la distribution de Bombay Citron Pressé 70cl.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BA75215E-506F-DF22-1485-8890712F7FFD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14" name="Slide Number Placeholder 7">
            <a:extLst>
              <a:ext uri="{FF2B5EF4-FFF2-40B4-BE49-F238E27FC236}">
                <a16:creationId xmlns:a16="http://schemas.microsoft.com/office/drawing/2014/main" id="{544D912C-FA2A-3B3F-444C-0E3F8420C2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35</a:t>
            </a:fld>
            <a:endParaRPr lang="fr-FR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E58D76E-5D8B-9676-C484-FAE2C8412184}"/>
              </a:ext>
            </a:extLst>
          </p:cNvPr>
          <p:cNvSpPr/>
          <p:nvPr/>
        </p:nvSpPr>
        <p:spPr>
          <a:xfrm>
            <a:off x="7946570" y="0"/>
            <a:ext cx="4245430" cy="6405694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fr-FR" sz="1600" b="1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27" name="Picture 26" descr="A black and white logo&#10;&#10;AI-generated content may be incorrect.">
            <a:extLst>
              <a:ext uri="{FF2B5EF4-FFF2-40B4-BE49-F238E27FC236}">
                <a16:creationId xmlns:a16="http://schemas.microsoft.com/office/drawing/2014/main" id="{3F109BB1-0595-9D8F-1BDE-9AAA9C9D93A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6582" y="90715"/>
            <a:ext cx="1475418" cy="396832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C0E9310D-259D-C199-9D0E-2D18DCAA1778}"/>
              </a:ext>
            </a:extLst>
          </p:cNvPr>
          <p:cNvSpPr txBox="1"/>
          <p:nvPr/>
        </p:nvSpPr>
        <p:spPr>
          <a:xfrm>
            <a:off x="8246286" y="617624"/>
            <a:ext cx="3640913" cy="525401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>
                <a:solidFill>
                  <a:schemeClr val="bg1"/>
                </a:solidFill>
                <a:latin typeface="Aptos" panose="020B0004020202020204" pitchFamily="34" charset="0"/>
              </a:rPr>
              <a:t>Évolution de la distribution numérique de Bombay Citron Pressé 70cl.</a:t>
            </a:r>
            <a:endParaRPr lang="fr-FR" sz="1400" b="1" dirty="0">
              <a:solidFill>
                <a:schemeClr val="bg1"/>
              </a:solidFill>
              <a:latin typeface="Aptos" panose="020B00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48F34DF-D9A7-6B89-185A-A09C46925DA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70086" y="1273102"/>
            <a:ext cx="3898235" cy="481681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9D1FF6B-6D9A-CFD9-B78D-0F907D56EFB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9461" y="2175676"/>
            <a:ext cx="7473202" cy="40710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7389175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DA9715-C509-A687-BC3A-8AE65BC21B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29">
            <a:extLst>
              <a:ext uri="{FF2B5EF4-FFF2-40B4-BE49-F238E27FC236}">
                <a16:creationId xmlns:a16="http://schemas.microsoft.com/office/drawing/2014/main" id="{24760CDE-C9AF-6B9A-82D8-2E419E64FA41}"/>
              </a:ext>
            </a:extLst>
          </p:cNvPr>
          <p:cNvSpPr/>
          <p:nvPr/>
        </p:nvSpPr>
        <p:spPr>
          <a:xfrm>
            <a:off x="-2" y="1403928"/>
            <a:ext cx="7941019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8" name="Picture 7" descr="A counter with a variety of food items in it&#10;&#10;AI-generated content may be incorrect.">
            <a:extLst>
              <a:ext uri="{FF2B5EF4-FFF2-40B4-BE49-F238E27FC236}">
                <a16:creationId xmlns:a16="http://schemas.microsoft.com/office/drawing/2014/main" id="{C6543F69-0791-E038-0216-54FCE55CFB0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722"/>
          <a:stretch>
            <a:fillRect/>
          </a:stretch>
        </p:blipFill>
        <p:spPr>
          <a:xfrm>
            <a:off x="7941017" y="0"/>
            <a:ext cx="4250983" cy="640047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ACF9CEEB-6655-1579-197E-F87FC827C564}"/>
              </a:ext>
            </a:extLst>
          </p:cNvPr>
          <p:cNvSpPr/>
          <p:nvPr/>
        </p:nvSpPr>
        <p:spPr>
          <a:xfrm>
            <a:off x="532928" y="1403928"/>
            <a:ext cx="7395903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2E3FE4B8-2326-13E8-0350-6DEF43436155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ED76597-9459-EFDD-4EE6-205A45AACA5C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B010 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8A8DAAE4-6B07-6374-1DD0-37EEE514D94B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b="1" dirty="0">
                <a:solidFill>
                  <a:schemeClr val="accent1"/>
                </a:solidFill>
                <a:latin typeface="Aptos" panose="020B0004020202020204" pitchFamily="34" charset="0"/>
              </a:rPr>
              <a:t>Cas n°3 </a:t>
            </a:r>
            <a:r>
              <a:rPr lang="fr-FR" sz="1600" b="1" dirty="0">
                <a:solidFill>
                  <a:schemeClr val="bg1">
                    <a:lumMod val="85000"/>
                  </a:schemeClr>
                </a:solidFill>
                <a:latin typeface="Aptos" panose="020B0004020202020204" pitchFamily="34" charset="0"/>
              </a:rPr>
              <a:t>|</a:t>
            </a:r>
            <a:r>
              <a:rPr lang="fr-FR" sz="1600" dirty="0">
                <a:latin typeface="Aptos" panose="020B0004020202020204" pitchFamily="34" charset="0"/>
              </a:rPr>
              <a:t> </a:t>
            </a:r>
            <a:r>
              <a:rPr kumimoji="0" lang="fr-FR" sz="1600" b="0" i="1" u="none" strike="noStrike" kern="1200" cap="none" spc="0" normalizeH="0" baseline="0" noProof="0" dirty="0">
                <a:ln>
                  <a:noFill/>
                </a:ln>
                <a:solidFill>
                  <a:srgbClr val="1B1C1F">
                    <a:lumMod val="90000"/>
                    <a:lumOff val="10000"/>
                  </a:srgbClr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trôler l’érosion</a:t>
            </a:r>
            <a:endParaRPr lang="fr-FR" sz="2800" i="1" dirty="0">
              <a:latin typeface="Aptos Black" panose="020B00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476E5BB-A304-013B-2489-A0ADBC066968}"/>
              </a:ext>
            </a:extLst>
          </p:cNvPr>
          <p:cNvSpPr txBox="1"/>
          <p:nvPr/>
        </p:nvSpPr>
        <p:spPr>
          <a:xfrm>
            <a:off x="898070" y="492774"/>
            <a:ext cx="6887030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le est la dynamique de Bombay Sapphire Sunset 70cl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A8353465-12F5-B9E9-E552-83AC1748F9D5}"/>
              </a:ext>
            </a:extLst>
          </p:cNvPr>
          <p:cNvGrpSpPr/>
          <p:nvPr/>
        </p:nvGrpSpPr>
        <p:grpSpPr>
          <a:xfrm>
            <a:off x="898070" y="1563201"/>
            <a:ext cx="6887030" cy="534498"/>
            <a:chOff x="1050129" y="1563201"/>
            <a:chExt cx="4326467" cy="534498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90D3CB0C-7336-78FD-665D-21854D48D5C7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Actualités de la distribution de Bombay Sapphire Sunset 70cl.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BA75215E-506F-DF22-1485-8890712F7FFD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14" name="Slide Number Placeholder 7">
            <a:extLst>
              <a:ext uri="{FF2B5EF4-FFF2-40B4-BE49-F238E27FC236}">
                <a16:creationId xmlns:a16="http://schemas.microsoft.com/office/drawing/2014/main" id="{544D912C-FA2A-3B3F-444C-0E3F8420C2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36</a:t>
            </a:fld>
            <a:endParaRPr lang="fr-FR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E58D76E-5D8B-9676-C484-FAE2C8412184}"/>
              </a:ext>
            </a:extLst>
          </p:cNvPr>
          <p:cNvSpPr/>
          <p:nvPr/>
        </p:nvSpPr>
        <p:spPr>
          <a:xfrm>
            <a:off x="7946570" y="0"/>
            <a:ext cx="4245430" cy="6405694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fr-FR" sz="1600" b="1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27" name="Picture 26" descr="A black and white logo&#10;&#10;AI-generated content may be incorrect.">
            <a:extLst>
              <a:ext uri="{FF2B5EF4-FFF2-40B4-BE49-F238E27FC236}">
                <a16:creationId xmlns:a16="http://schemas.microsoft.com/office/drawing/2014/main" id="{3F109BB1-0595-9D8F-1BDE-9AAA9C9D93A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6582" y="90715"/>
            <a:ext cx="1475418" cy="396832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C0E9310D-259D-C199-9D0E-2D18DCAA1778}"/>
              </a:ext>
            </a:extLst>
          </p:cNvPr>
          <p:cNvSpPr txBox="1"/>
          <p:nvPr/>
        </p:nvSpPr>
        <p:spPr>
          <a:xfrm>
            <a:off x="8246286" y="617624"/>
            <a:ext cx="3640913" cy="525401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>
                <a:solidFill>
                  <a:schemeClr val="bg1"/>
                </a:solidFill>
                <a:latin typeface="Aptos" panose="020B0004020202020204" pitchFamily="34" charset="0"/>
              </a:rPr>
              <a:t>Évolution de la distribution numérique de Bombay Sapphire Sunset 70cl.</a:t>
            </a:r>
            <a:endParaRPr lang="fr-FR" sz="1400" b="1" dirty="0">
              <a:solidFill>
                <a:schemeClr val="bg1"/>
              </a:solidFill>
              <a:latin typeface="Aptos" panose="020B00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864A20E-C0D2-8F31-FF6D-3C1B97F4196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70086" y="1273102"/>
            <a:ext cx="3898235" cy="481681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7A32CF9-B108-7A49-4BFE-BA99156FED6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9461" y="2175676"/>
            <a:ext cx="7473202" cy="40710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665132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DA9715-C509-A687-BC3A-8AE65BC21B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29">
            <a:extLst>
              <a:ext uri="{FF2B5EF4-FFF2-40B4-BE49-F238E27FC236}">
                <a16:creationId xmlns:a16="http://schemas.microsoft.com/office/drawing/2014/main" id="{24760CDE-C9AF-6B9A-82D8-2E419E64FA41}"/>
              </a:ext>
            </a:extLst>
          </p:cNvPr>
          <p:cNvSpPr/>
          <p:nvPr/>
        </p:nvSpPr>
        <p:spPr>
          <a:xfrm>
            <a:off x="-2" y="1403928"/>
            <a:ext cx="7941019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8" name="Picture 7" descr="A counter with a variety of food items in it&#10;&#10;AI-generated content may be incorrect.">
            <a:extLst>
              <a:ext uri="{FF2B5EF4-FFF2-40B4-BE49-F238E27FC236}">
                <a16:creationId xmlns:a16="http://schemas.microsoft.com/office/drawing/2014/main" id="{C6543F69-0791-E038-0216-54FCE55CFB0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722"/>
          <a:stretch>
            <a:fillRect/>
          </a:stretch>
        </p:blipFill>
        <p:spPr>
          <a:xfrm>
            <a:off x="7941017" y="0"/>
            <a:ext cx="4250983" cy="640047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ACF9CEEB-6655-1579-197E-F87FC827C564}"/>
              </a:ext>
            </a:extLst>
          </p:cNvPr>
          <p:cNvSpPr/>
          <p:nvPr/>
        </p:nvSpPr>
        <p:spPr>
          <a:xfrm>
            <a:off x="532928" y="1403928"/>
            <a:ext cx="7395903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2E3FE4B8-2326-13E8-0350-6DEF43436155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ED76597-9459-EFDD-4EE6-205A45AACA5C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B010 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8A8DAAE4-6B07-6374-1DD0-37EEE514D94B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b="1" dirty="0">
                <a:solidFill>
                  <a:schemeClr val="accent1"/>
                </a:solidFill>
                <a:latin typeface="Aptos" panose="020B0004020202020204" pitchFamily="34" charset="0"/>
              </a:rPr>
              <a:t>Cas n°3 </a:t>
            </a:r>
            <a:r>
              <a:rPr lang="fr-FR" sz="1600" b="1" dirty="0">
                <a:solidFill>
                  <a:schemeClr val="bg1">
                    <a:lumMod val="85000"/>
                  </a:schemeClr>
                </a:solidFill>
                <a:latin typeface="Aptos" panose="020B0004020202020204" pitchFamily="34" charset="0"/>
              </a:rPr>
              <a:t>|</a:t>
            </a:r>
            <a:r>
              <a:rPr lang="fr-FR" sz="1600" dirty="0">
                <a:latin typeface="Aptos" panose="020B0004020202020204" pitchFamily="34" charset="0"/>
              </a:rPr>
              <a:t> </a:t>
            </a:r>
            <a:r>
              <a:rPr kumimoji="0" lang="fr-FR" sz="1600" b="0" i="1" u="none" strike="noStrike" kern="1200" cap="none" spc="0" normalizeH="0" baseline="0" noProof="0" dirty="0">
                <a:ln>
                  <a:noFill/>
                </a:ln>
                <a:solidFill>
                  <a:srgbClr val="1B1C1F">
                    <a:lumMod val="90000"/>
                    <a:lumOff val="10000"/>
                  </a:srgbClr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trôler l’érosion</a:t>
            </a:r>
            <a:endParaRPr lang="fr-FR" sz="2800" i="1" dirty="0">
              <a:latin typeface="Aptos Black" panose="020B00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476E5BB-A304-013B-2489-A0ADBC066968}"/>
              </a:ext>
            </a:extLst>
          </p:cNvPr>
          <p:cNvSpPr txBox="1"/>
          <p:nvPr/>
        </p:nvSpPr>
        <p:spPr>
          <a:xfrm>
            <a:off x="898070" y="492774"/>
            <a:ext cx="6887030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le est la dynamique de Bombay Bramble 70cl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A8353465-12F5-B9E9-E552-83AC1748F9D5}"/>
              </a:ext>
            </a:extLst>
          </p:cNvPr>
          <p:cNvGrpSpPr/>
          <p:nvPr/>
        </p:nvGrpSpPr>
        <p:grpSpPr>
          <a:xfrm>
            <a:off x="898070" y="1563201"/>
            <a:ext cx="6887030" cy="534498"/>
            <a:chOff x="1050129" y="1563201"/>
            <a:chExt cx="4326467" cy="534498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90D3CB0C-7336-78FD-665D-21854D48D5C7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Actualités de la distribution de Bombay Bramble 70cl.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BA75215E-506F-DF22-1485-8890712F7FFD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14" name="Slide Number Placeholder 7">
            <a:extLst>
              <a:ext uri="{FF2B5EF4-FFF2-40B4-BE49-F238E27FC236}">
                <a16:creationId xmlns:a16="http://schemas.microsoft.com/office/drawing/2014/main" id="{544D912C-FA2A-3B3F-444C-0E3F8420C2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37</a:t>
            </a:fld>
            <a:endParaRPr lang="fr-FR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E58D76E-5D8B-9676-C484-FAE2C8412184}"/>
              </a:ext>
            </a:extLst>
          </p:cNvPr>
          <p:cNvSpPr/>
          <p:nvPr/>
        </p:nvSpPr>
        <p:spPr>
          <a:xfrm>
            <a:off x="7946570" y="0"/>
            <a:ext cx="4245430" cy="6405694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fr-FR" sz="1600" b="1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27" name="Picture 26" descr="A black and white logo&#10;&#10;AI-generated content may be incorrect.">
            <a:extLst>
              <a:ext uri="{FF2B5EF4-FFF2-40B4-BE49-F238E27FC236}">
                <a16:creationId xmlns:a16="http://schemas.microsoft.com/office/drawing/2014/main" id="{3F109BB1-0595-9D8F-1BDE-9AAA9C9D93A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6582" y="90715"/>
            <a:ext cx="1475418" cy="396832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C0E9310D-259D-C199-9D0E-2D18DCAA1778}"/>
              </a:ext>
            </a:extLst>
          </p:cNvPr>
          <p:cNvSpPr txBox="1"/>
          <p:nvPr/>
        </p:nvSpPr>
        <p:spPr>
          <a:xfrm>
            <a:off x="8246286" y="617624"/>
            <a:ext cx="3640913" cy="525401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>
                <a:solidFill>
                  <a:schemeClr val="bg1"/>
                </a:solidFill>
                <a:latin typeface="Aptos" panose="020B0004020202020204" pitchFamily="34" charset="0"/>
              </a:rPr>
              <a:t>Évolution de la distribution numérique de Bombay Bramble 70cl.</a:t>
            </a:r>
            <a:endParaRPr lang="fr-FR" sz="1400" b="1" dirty="0">
              <a:solidFill>
                <a:schemeClr val="bg1"/>
              </a:solidFill>
              <a:latin typeface="Aptos" panose="020B00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04F1D8B-1CCF-1E10-A20F-55EC0973BC0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70086" y="1273102"/>
            <a:ext cx="3898235" cy="481681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0924A3C-6179-692C-4A82-82A0E7DEC1F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9461" y="2175676"/>
            <a:ext cx="7473202" cy="40710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3250453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A195EC-183C-DA83-C501-D068A17B03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86A3C47-BBCA-2219-B249-27BE115BD5C0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324E649-0643-DA89-1FBE-B843872633A5}"/>
              </a:ext>
            </a:extLst>
          </p:cNvPr>
          <p:cNvSpPr/>
          <p:nvPr/>
        </p:nvSpPr>
        <p:spPr>
          <a:xfrm>
            <a:off x="532932" y="1403928"/>
            <a:ext cx="5966712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C5194609-3706-8259-C591-FD998F3394F7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8D4D60A-5353-8551-E340-667E7E39D02E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B012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F180E95C-ADCA-572B-9C59-1F6E62DE0B9D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b="1" dirty="0">
                <a:solidFill>
                  <a:schemeClr val="accent1"/>
                </a:solidFill>
                <a:latin typeface="Aptos" panose="020B0004020202020204" pitchFamily="34" charset="0"/>
              </a:rPr>
              <a:t>Cas n°4 </a:t>
            </a:r>
            <a:r>
              <a:rPr lang="fr-FR" sz="1600" b="1" dirty="0">
                <a:solidFill>
                  <a:schemeClr val="bg1">
                    <a:lumMod val="85000"/>
                  </a:schemeClr>
                </a:solidFill>
                <a:latin typeface="Aptos" panose="020B0004020202020204" pitchFamily="34" charset="0"/>
              </a:rPr>
              <a:t>|</a:t>
            </a:r>
            <a:r>
              <a:rPr lang="fr-FR" sz="1600" dirty="0">
                <a:latin typeface="Aptos" panose="020B0004020202020204" pitchFamily="34" charset="0"/>
              </a:rPr>
              <a:t> </a:t>
            </a:r>
            <a:r>
              <a:rPr kumimoji="0" lang="fr-FR" sz="1600" b="0" i="1" u="none" strike="noStrike" kern="1200" cap="none" spc="0" normalizeH="0" baseline="0" noProof="0" dirty="0">
                <a:ln>
                  <a:noFill/>
                </a:ln>
                <a:solidFill>
                  <a:srgbClr val="1B1C1F">
                    <a:lumMod val="90000"/>
                    <a:lumOff val="10000"/>
                  </a:srgbClr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enforcer la mise en avant</a:t>
            </a:r>
            <a:endParaRPr lang="fr-FR" sz="2800" i="1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275AA85B-ABDB-FD2B-F0B0-E37432B5E62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BD11AB81-91DF-CE1F-767C-95DBFD27AE30}"/>
              </a:ext>
            </a:extLst>
          </p:cNvPr>
          <p:cNvSpPr txBox="1"/>
          <p:nvPr/>
        </p:nvSpPr>
        <p:spPr>
          <a:xfrm>
            <a:off x="898070" y="492774"/>
            <a:ext cx="10760998" cy="1202510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le est la mise en avant des marques de Gin parmi les autres Spiritueux et quelles sont les marques les mieux positionnées ?</a:t>
            </a:r>
          </a:p>
          <a:p>
            <a:endParaRPr lang="fr-FR" sz="2400" b="1" dirty="0">
              <a:latin typeface="Aptos Black" panose="020B000402020202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AE93C1A-3A53-A505-1348-E80EE1D75CE6}"/>
              </a:ext>
            </a:extLst>
          </p:cNvPr>
          <p:cNvGrpSpPr/>
          <p:nvPr/>
        </p:nvGrpSpPr>
        <p:grpSpPr>
          <a:xfrm>
            <a:off x="898070" y="1563201"/>
            <a:ext cx="5159427" cy="534498"/>
            <a:chOff x="1050129" y="1563201"/>
            <a:chExt cx="6459460" cy="534498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17F99C89-E071-6AE9-989E-03ADAD50B524}"/>
                </a:ext>
              </a:extLst>
            </p:cNvPr>
            <p:cNvSpPr txBox="1"/>
            <p:nvPr/>
          </p:nvSpPr>
          <p:spPr>
            <a:xfrm>
              <a:off x="1050129" y="1563201"/>
              <a:ext cx="6459460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Répartition de la position sur le site parmi les autres spiritueux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A8863462-7245-A9C9-0687-3D518D59656B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3477E2D6-5CEC-5B06-BA8F-1501BBC242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38</a:t>
            </a:fld>
            <a:endParaRPr lang="fr-FR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A15A5D06-C00C-6FF0-2DD6-20D8F30A49D8}"/>
              </a:ext>
            </a:extLst>
          </p:cNvPr>
          <p:cNvGrpSpPr/>
          <p:nvPr/>
        </p:nvGrpSpPr>
        <p:grpSpPr>
          <a:xfrm>
            <a:off x="6675821" y="1563201"/>
            <a:ext cx="5159427" cy="534498"/>
            <a:chOff x="1050129" y="1563201"/>
            <a:chExt cx="4326467" cy="534498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2D783608-5833-B0BE-C849-326A07251A97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Répartition de la position relativement au autres Gin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F5D96A66-4627-9689-82C8-015709D7B9B6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129CC928-985C-8E59-6A78-7B7EC1FADA85}"/>
              </a:ext>
            </a:extLst>
          </p:cNvPr>
          <p:cNvGrpSpPr/>
          <p:nvPr/>
        </p:nvGrpSpPr>
        <p:grpSpPr>
          <a:xfrm>
            <a:off x="4685898" y="3761510"/>
            <a:ext cx="1371599" cy="2408538"/>
            <a:chOff x="4353791" y="4450344"/>
            <a:chExt cx="1371599" cy="1802830"/>
          </a:xfrm>
        </p:grpSpPr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F3F8E1DC-0D80-F147-4DA2-8C079AC621E3}"/>
                </a:ext>
              </a:extLst>
            </p:cNvPr>
            <p:cNvSpPr/>
            <p:nvPr/>
          </p:nvSpPr>
          <p:spPr>
            <a:xfrm>
              <a:off x="4353791" y="4450344"/>
              <a:ext cx="1371599" cy="309958"/>
            </a:xfrm>
            <a:prstGeom prst="round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/>
                <a:t>Haut de la page</a:t>
              </a:r>
            </a:p>
            <a:p>
              <a:pPr algn="ctr"/>
              <a:r>
                <a:rPr lang="fr-FR" sz="1200" i="1" dirty="0"/>
                <a:t>Top 20%</a:t>
              </a:r>
            </a:p>
          </p:txBody>
        </p: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1F4C0ED9-C4FB-7C54-65D0-362D39803F3A}"/>
                </a:ext>
              </a:extLst>
            </p:cNvPr>
            <p:cNvSpPr/>
            <p:nvPr/>
          </p:nvSpPr>
          <p:spPr>
            <a:xfrm>
              <a:off x="4353791" y="4823562"/>
              <a:ext cx="1371599" cy="309958"/>
            </a:xfrm>
            <a:prstGeom prst="roundRect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/>
                <a:t>Milieu / haut</a:t>
              </a:r>
            </a:p>
            <a:p>
              <a:pPr algn="ctr"/>
              <a:r>
                <a:rPr lang="fr-FR" sz="1200" i="1" dirty="0"/>
                <a:t>20% - 40%</a:t>
              </a:r>
            </a:p>
          </p:txBody>
        </p:sp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E8C3E4EA-23A0-4B71-E811-4628DE8BF050}"/>
                </a:ext>
              </a:extLst>
            </p:cNvPr>
            <p:cNvSpPr/>
            <p:nvPr/>
          </p:nvSpPr>
          <p:spPr>
            <a:xfrm>
              <a:off x="4353791" y="5196780"/>
              <a:ext cx="1371599" cy="309958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solidFill>
                    <a:schemeClr val="tx2"/>
                  </a:solidFill>
                </a:rPr>
                <a:t>Milieu de page</a:t>
              </a:r>
            </a:p>
            <a:p>
              <a:pPr algn="ctr"/>
              <a:r>
                <a:rPr lang="fr-FR" sz="1200" i="1" dirty="0">
                  <a:solidFill>
                    <a:schemeClr val="tx2"/>
                  </a:solidFill>
                </a:rPr>
                <a:t>40% - 60%</a:t>
              </a:r>
            </a:p>
          </p:txBody>
        </p:sp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CED310A9-9293-D52C-EA3B-34894D57BE8B}"/>
                </a:ext>
              </a:extLst>
            </p:cNvPr>
            <p:cNvSpPr/>
            <p:nvPr/>
          </p:nvSpPr>
          <p:spPr>
            <a:xfrm>
              <a:off x="4353791" y="5569998"/>
              <a:ext cx="1371599" cy="309958"/>
            </a:xfrm>
            <a:prstGeom prst="roundRect">
              <a:avLst/>
            </a:prstGeom>
            <a:solidFill>
              <a:srgbClr val="E7E8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solidFill>
                    <a:schemeClr val="bg1">
                      <a:lumMod val="50000"/>
                    </a:schemeClr>
                  </a:solidFill>
                </a:rPr>
                <a:t>Milieu / bas</a:t>
              </a:r>
            </a:p>
            <a:p>
              <a:pPr algn="ctr"/>
              <a:r>
                <a:rPr lang="fr-FR" sz="1200" i="1" dirty="0">
                  <a:solidFill>
                    <a:schemeClr val="bg1">
                      <a:lumMod val="50000"/>
                    </a:schemeClr>
                  </a:solidFill>
                </a:rPr>
                <a:t>60% - 80%</a:t>
              </a:r>
            </a:p>
          </p:txBody>
        </p:sp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7C0CEF8E-52FE-A0F1-9AAF-75DDB761930F}"/>
                </a:ext>
              </a:extLst>
            </p:cNvPr>
            <p:cNvSpPr/>
            <p:nvPr/>
          </p:nvSpPr>
          <p:spPr>
            <a:xfrm>
              <a:off x="4353791" y="5943216"/>
              <a:ext cx="1371599" cy="309958"/>
            </a:xfrm>
            <a:prstGeom prst="roundRect">
              <a:avLst/>
            </a:prstGeom>
            <a:solidFill>
              <a:srgbClr val="C3C5C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solidFill>
                    <a:schemeClr val="bg1">
                      <a:lumMod val="50000"/>
                    </a:schemeClr>
                  </a:solidFill>
                </a:rPr>
                <a:t>Bas de page</a:t>
              </a:r>
            </a:p>
            <a:p>
              <a:pPr algn="ctr"/>
              <a:r>
                <a:rPr lang="fr-FR" sz="1200" i="1" dirty="0">
                  <a:solidFill>
                    <a:schemeClr val="bg1">
                      <a:lumMod val="50000"/>
                    </a:schemeClr>
                  </a:solidFill>
                </a:rPr>
                <a:t>&gt;80%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878E90DC-9D3E-6ABD-E4F1-B6068589B7B5}"/>
              </a:ext>
            </a:extLst>
          </p:cNvPr>
          <p:cNvGrpSpPr/>
          <p:nvPr/>
        </p:nvGrpSpPr>
        <p:grpSpPr>
          <a:xfrm>
            <a:off x="10287469" y="3761510"/>
            <a:ext cx="1371599" cy="2408538"/>
            <a:chOff x="4353791" y="4450344"/>
            <a:chExt cx="1371599" cy="1802830"/>
          </a:xfrm>
        </p:grpSpPr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2325A942-FD48-BF7D-FC91-49B15BFA47F2}"/>
                </a:ext>
              </a:extLst>
            </p:cNvPr>
            <p:cNvSpPr/>
            <p:nvPr/>
          </p:nvSpPr>
          <p:spPr>
            <a:xfrm>
              <a:off x="4353791" y="4450344"/>
              <a:ext cx="1371599" cy="309958"/>
            </a:xfrm>
            <a:prstGeom prst="round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/>
                <a:t>Top Gin</a:t>
              </a:r>
            </a:p>
            <a:p>
              <a:pPr algn="ctr"/>
              <a:r>
                <a:rPr lang="fr-FR" sz="1200" b="1"/>
                <a:t>Top 20%</a:t>
              </a:r>
              <a:endParaRPr lang="fr-FR" sz="1200" i="1" dirty="0"/>
            </a:p>
          </p:txBody>
        </p:sp>
        <p:sp>
          <p:nvSpPr>
            <p:cNvPr id="24" name="Rectangle: Rounded Corners 23">
              <a:extLst>
                <a:ext uri="{FF2B5EF4-FFF2-40B4-BE49-F238E27FC236}">
                  <a16:creationId xmlns:a16="http://schemas.microsoft.com/office/drawing/2014/main" id="{54C4FBC1-1F3A-6497-C59A-857E8C286AA5}"/>
                </a:ext>
              </a:extLst>
            </p:cNvPr>
            <p:cNvSpPr/>
            <p:nvPr/>
          </p:nvSpPr>
          <p:spPr>
            <a:xfrm>
              <a:off x="4353791" y="4823562"/>
              <a:ext cx="1371599" cy="309958"/>
            </a:xfrm>
            <a:prstGeom prst="roundRect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/>
                <a:t>Milieu / haut</a:t>
              </a:r>
            </a:p>
            <a:p>
              <a:pPr algn="ctr"/>
              <a:r>
                <a:rPr lang="fr-FR" sz="1200" i="1" dirty="0"/>
                <a:t>20% - 40%</a:t>
              </a:r>
            </a:p>
          </p:txBody>
        </p:sp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CF77FE75-0E54-C25E-2802-35D7B4344A09}"/>
                </a:ext>
              </a:extLst>
            </p:cNvPr>
            <p:cNvSpPr/>
            <p:nvPr/>
          </p:nvSpPr>
          <p:spPr>
            <a:xfrm>
              <a:off x="4353791" y="5196780"/>
              <a:ext cx="1371599" cy="309958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solidFill>
                    <a:schemeClr val="tx2"/>
                  </a:solidFill>
                </a:rPr>
                <a:t>Milieu de page</a:t>
              </a:r>
            </a:p>
            <a:p>
              <a:pPr algn="ctr"/>
              <a:r>
                <a:rPr lang="fr-FR" sz="1200" i="1" dirty="0">
                  <a:solidFill>
                    <a:schemeClr val="tx2"/>
                  </a:solidFill>
                </a:rPr>
                <a:t>40% - 60%</a:t>
              </a:r>
            </a:p>
          </p:txBody>
        </p:sp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8DE52EF7-EF6D-913A-E0A0-585DDE8B9A37}"/>
                </a:ext>
              </a:extLst>
            </p:cNvPr>
            <p:cNvSpPr/>
            <p:nvPr/>
          </p:nvSpPr>
          <p:spPr>
            <a:xfrm>
              <a:off x="4353791" y="5569998"/>
              <a:ext cx="1371599" cy="309958"/>
            </a:xfrm>
            <a:prstGeom prst="roundRect">
              <a:avLst/>
            </a:prstGeom>
            <a:solidFill>
              <a:srgbClr val="E7E8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solidFill>
                    <a:schemeClr val="bg1">
                      <a:lumMod val="50000"/>
                    </a:schemeClr>
                  </a:solidFill>
                </a:rPr>
                <a:t>Milieu / bas</a:t>
              </a:r>
            </a:p>
            <a:p>
              <a:pPr algn="ctr"/>
              <a:r>
                <a:rPr lang="fr-FR" sz="1200" i="1" dirty="0">
                  <a:solidFill>
                    <a:schemeClr val="bg1">
                      <a:lumMod val="50000"/>
                    </a:schemeClr>
                  </a:solidFill>
                </a:rPr>
                <a:t>60% - 80%</a:t>
              </a:r>
            </a:p>
          </p:txBody>
        </p:sp>
        <p:sp>
          <p:nvSpPr>
            <p:cNvPr id="27" name="Rectangle: Rounded Corners 26">
              <a:extLst>
                <a:ext uri="{FF2B5EF4-FFF2-40B4-BE49-F238E27FC236}">
                  <a16:creationId xmlns:a16="http://schemas.microsoft.com/office/drawing/2014/main" id="{79A6156A-B398-E1F0-2648-E0D3899CA5B9}"/>
                </a:ext>
              </a:extLst>
            </p:cNvPr>
            <p:cNvSpPr/>
            <p:nvPr/>
          </p:nvSpPr>
          <p:spPr>
            <a:xfrm>
              <a:off x="4353791" y="5943216"/>
              <a:ext cx="1371599" cy="309958"/>
            </a:xfrm>
            <a:prstGeom prst="roundRect">
              <a:avLst/>
            </a:prstGeom>
            <a:solidFill>
              <a:srgbClr val="C3C5C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solidFill>
                    <a:schemeClr val="bg1">
                      <a:lumMod val="50000"/>
                    </a:schemeClr>
                  </a:solidFill>
                </a:rPr>
                <a:t>En retrait</a:t>
              </a:r>
            </a:p>
            <a:p>
              <a:pPr algn="ctr"/>
              <a:r>
                <a:rPr lang="fr-FR" sz="1200" i="1" dirty="0">
                  <a:solidFill>
                    <a:schemeClr val="bg1">
                      <a:lumMod val="50000"/>
                    </a:schemeClr>
                  </a:solidFill>
                </a:rPr>
                <a:t>&gt;80%</a:t>
              </a:r>
            </a:p>
          </p:txBody>
        </p:sp>
      </p:grpSp>
      <p:pic>
        <p:nvPicPr>
          <p:cNvPr id="28" name="Picture 27">
            <a:extLst>
              <a:ext uri="{FF2B5EF4-FFF2-40B4-BE49-F238E27FC236}">
                <a16:creationId xmlns:a16="http://schemas.microsoft.com/office/drawing/2014/main" id="{600560C2-65A3-C419-D7D8-44A2B5AD1B8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8071" y="2005981"/>
            <a:ext cx="4618003" cy="4363647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A8C1F4CE-ABD2-C3B7-1267-801240A86BE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75821" y="2005982"/>
            <a:ext cx="4616481" cy="43636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783228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72DC16-29EA-D780-DA77-5FB0FB2257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E4C1AE8-D1A1-6FC1-38CF-465FF249B4D4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1D4984E-C75D-E675-0B66-018376F3E38B}"/>
              </a:ext>
            </a:extLst>
          </p:cNvPr>
          <p:cNvSpPr/>
          <p:nvPr/>
        </p:nvSpPr>
        <p:spPr>
          <a:xfrm>
            <a:off x="532932" y="1403928"/>
            <a:ext cx="5966712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DE8E5E52-4A36-6B48-489D-FE250973BF4F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BFD2D57-B4D4-6B1C-CC31-454B1F362A02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B013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EF4414E7-5B2B-AB2D-51EA-38B377C7ED10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b="1" dirty="0">
                <a:solidFill>
                  <a:schemeClr val="accent1"/>
                </a:solidFill>
                <a:latin typeface="Aptos" panose="020B0004020202020204" pitchFamily="34" charset="0"/>
              </a:rPr>
              <a:t>Cas n°4 </a:t>
            </a:r>
            <a:r>
              <a:rPr lang="fr-FR" sz="1600" b="1" dirty="0">
                <a:solidFill>
                  <a:schemeClr val="bg1">
                    <a:lumMod val="85000"/>
                  </a:schemeClr>
                </a:solidFill>
                <a:latin typeface="Aptos" panose="020B0004020202020204" pitchFamily="34" charset="0"/>
              </a:rPr>
              <a:t>|</a:t>
            </a:r>
            <a:r>
              <a:rPr lang="fr-FR" sz="1600" dirty="0">
                <a:latin typeface="Aptos" panose="020B0004020202020204" pitchFamily="34" charset="0"/>
              </a:rPr>
              <a:t> </a:t>
            </a:r>
            <a:r>
              <a:rPr kumimoji="0" lang="fr-FR" sz="1600" b="0" i="1" u="none" strike="noStrike" kern="1200" cap="none" spc="0" normalizeH="0" baseline="0" noProof="0" dirty="0">
                <a:ln>
                  <a:noFill/>
                </a:ln>
                <a:solidFill>
                  <a:srgbClr val="1B1C1F">
                    <a:lumMod val="90000"/>
                    <a:lumOff val="10000"/>
                  </a:srgbClr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enforcer la mise en avant</a:t>
            </a:r>
            <a:endParaRPr lang="fr-FR" sz="2800" i="1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BE68DCC5-1249-F06C-6BE1-E2EB330AF02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12DDF1DE-E091-9961-E15E-4A9F3F311F59}"/>
              </a:ext>
            </a:extLst>
          </p:cNvPr>
          <p:cNvSpPr txBox="1"/>
          <p:nvPr/>
        </p:nvSpPr>
        <p:spPr>
          <a:xfrm>
            <a:off x="898070" y="492774"/>
            <a:ext cx="10760998" cy="1202510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Comment a évoluée la mise en avant de notre best seller (Gin Bombay Sapphire 70cl) sur les derniers mois ? </a:t>
            </a:r>
          </a:p>
          <a:p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E06F6D11-130E-E8AD-E26B-44DD8C697D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39</a:t>
            </a:fld>
            <a:endParaRPr lang="fr-FR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D4872811-C6D1-C397-1B63-761C3A18C45D}"/>
              </a:ext>
            </a:extLst>
          </p:cNvPr>
          <p:cNvGrpSpPr/>
          <p:nvPr/>
        </p:nvGrpSpPr>
        <p:grpSpPr>
          <a:xfrm>
            <a:off x="6675821" y="1563201"/>
            <a:ext cx="5357257" cy="534498"/>
            <a:chOff x="1050129" y="1563201"/>
            <a:chExt cx="4326467" cy="534498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2DFBFCC5-2CE6-DCBA-65B6-8ABB732AF908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Évolution de la position relativement au autres Gin (%)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21D6D5C2-70D9-C25A-13F6-34B92D8E10DC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Gin Bombay Sapphire 70cl 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8906EF7F-5004-99A4-DF56-05DA63E3F8B5}"/>
              </a:ext>
            </a:extLst>
          </p:cNvPr>
          <p:cNvGrpSpPr/>
          <p:nvPr/>
        </p:nvGrpSpPr>
        <p:grpSpPr>
          <a:xfrm>
            <a:off x="898070" y="1563201"/>
            <a:ext cx="5357257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B100D779-0069-4A10-64ED-1F0B7C0B8490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Évolution de la position relativement au autres Gin (ABS)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7029712C-223A-3138-912A-F4DCF06931DE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Gin Bombay Sapphire 70cl 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pic>
        <p:nvPicPr>
          <p:cNvPr id="16" name="Picture 15">
            <a:extLst>
              <a:ext uri="{FF2B5EF4-FFF2-40B4-BE49-F238E27FC236}">
                <a16:creationId xmlns:a16="http://schemas.microsoft.com/office/drawing/2014/main" id="{1BAC17BA-B06F-02A3-4CED-86BEACD5116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8784" y="2181060"/>
            <a:ext cx="5585242" cy="4077364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2F459C32-039F-C626-41BF-7AFE2ABA990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89989" y="2181060"/>
            <a:ext cx="5585242" cy="40773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868048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436AE619-B117-0B1B-31BE-770DD0F60F7F}"/>
              </a:ext>
            </a:extLst>
          </p:cNvPr>
          <p:cNvGrpSpPr/>
          <p:nvPr/>
        </p:nvGrpSpPr>
        <p:grpSpPr>
          <a:xfrm>
            <a:off x="8127998" y="0"/>
            <a:ext cx="4064002" cy="6858000"/>
            <a:chOff x="8127999" y="0"/>
            <a:chExt cx="4064002" cy="6858000"/>
          </a:xfrm>
        </p:grpSpPr>
        <p:sp>
          <p:nvSpPr>
            <p:cNvPr id="144" name="Rectangle 143">
              <a:extLst>
                <a:ext uri="{FF2B5EF4-FFF2-40B4-BE49-F238E27FC236}">
                  <a16:creationId xmlns:a16="http://schemas.microsoft.com/office/drawing/2014/main" id="{6E93256B-DB49-7F5C-C612-77F94CAB5765}"/>
                </a:ext>
              </a:extLst>
            </p:cNvPr>
            <p:cNvSpPr/>
            <p:nvPr/>
          </p:nvSpPr>
          <p:spPr>
            <a:xfrm>
              <a:off x="8127999" y="0"/>
              <a:ext cx="4064002" cy="6858000"/>
            </a:xfrm>
            <a:prstGeom prst="rect">
              <a:avLst/>
            </a:prstGeom>
            <a:blipFill>
              <a:blip r:embed="rId3"/>
              <a:stretch>
                <a:fillRect l="-42709" r="-93125"/>
              </a:stretch>
            </a:blip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fr-FR" sz="1600" b="1" noProof="0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A6A04538-9604-216C-2D35-1C2483737105}"/>
                </a:ext>
              </a:extLst>
            </p:cNvPr>
            <p:cNvGrpSpPr/>
            <p:nvPr/>
          </p:nvGrpSpPr>
          <p:grpSpPr>
            <a:xfrm>
              <a:off x="8128001" y="0"/>
              <a:ext cx="4063999" cy="6858000"/>
              <a:chOff x="8128001" y="0"/>
              <a:chExt cx="4063999" cy="6858000"/>
            </a:xfrm>
          </p:grpSpPr>
          <p:sp>
            <p:nvSpPr>
              <p:cNvPr id="147" name="Rectangle 146">
                <a:extLst>
                  <a:ext uri="{FF2B5EF4-FFF2-40B4-BE49-F238E27FC236}">
                    <a16:creationId xmlns:a16="http://schemas.microsoft.com/office/drawing/2014/main" id="{FF86089E-510F-194B-5041-3F50808402C5}"/>
                  </a:ext>
                </a:extLst>
              </p:cNvPr>
              <p:cNvSpPr/>
              <p:nvPr/>
            </p:nvSpPr>
            <p:spPr>
              <a:xfrm>
                <a:off x="8128001" y="0"/>
                <a:ext cx="4063999" cy="6858000"/>
              </a:xfrm>
              <a:prstGeom prst="rect">
                <a:avLst/>
              </a:prstGeom>
              <a:solidFill>
                <a:srgbClr val="303237">
                  <a:alpha val="69804"/>
                </a:srgbClr>
              </a:solidFill>
              <a:ln>
                <a:noFill/>
              </a:ln>
              <a:effectLst>
                <a:innerShdw blurRad="63500" dist="50800" dir="10800000">
                  <a:prstClr val="black">
                    <a:alpha val="50000"/>
                  </a:prstClr>
                </a:inn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/>
              <a:p>
                <a:pPr algn="ctr"/>
                <a:endParaRPr lang="fr-FR" sz="1600" b="1" noProof="0" dirty="0">
                  <a:solidFill>
                    <a:schemeClr val="accent3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  <p:sp>
            <p:nvSpPr>
              <p:cNvPr id="150" name="TextBox 149">
                <a:extLst>
                  <a:ext uri="{FF2B5EF4-FFF2-40B4-BE49-F238E27FC236}">
                    <a16:creationId xmlns:a16="http://schemas.microsoft.com/office/drawing/2014/main" id="{112FBB5A-8123-E978-2E0A-DE8739C64755}"/>
                  </a:ext>
                </a:extLst>
              </p:cNvPr>
              <p:cNvSpPr txBox="1"/>
              <p:nvPr/>
            </p:nvSpPr>
            <p:spPr>
              <a:xfrm>
                <a:off x="8585200" y="492774"/>
                <a:ext cx="3149600" cy="833178"/>
              </a:xfrm>
              <a:prstGeom prst="rect">
                <a:avLst/>
              </a:prstGeom>
              <a:noFill/>
            </p:spPr>
            <p:txBody>
              <a:bodyPr wrap="square" lIns="0" tIns="46800" rIns="0" bIns="46800" rtlCol="0" anchor="t">
                <a:spAutoFit/>
              </a:bodyPr>
              <a:lstStyle/>
              <a:p>
                <a:pPr lvl="0">
                  <a:defRPr/>
                </a:pPr>
                <a:r>
                  <a:rPr lang="fr-FR" sz="2400" b="1" noProof="0" dirty="0">
                    <a:solidFill>
                      <a:prstClr val="white"/>
                    </a:solidFill>
                    <a:latin typeface="Aptos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rPr>
                  <a:t>Identification des opportunités. </a:t>
                </a:r>
                <a:endParaRPr lang="fr-FR" sz="1600" i="1" noProof="0" dirty="0">
                  <a:solidFill>
                    <a:prstClr val="white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  <p:sp>
            <p:nvSpPr>
              <p:cNvPr id="153" name="TextBox 152">
                <a:extLst>
                  <a:ext uri="{FF2B5EF4-FFF2-40B4-BE49-F238E27FC236}">
                    <a16:creationId xmlns:a16="http://schemas.microsoft.com/office/drawing/2014/main" id="{A4F2209F-C813-4B52-E153-B34AB755798E}"/>
                  </a:ext>
                </a:extLst>
              </p:cNvPr>
              <p:cNvSpPr txBox="1"/>
              <p:nvPr/>
            </p:nvSpPr>
            <p:spPr>
              <a:xfrm>
                <a:off x="8585200" y="1584974"/>
                <a:ext cx="3149600" cy="340735"/>
              </a:xfrm>
              <a:prstGeom prst="rect">
                <a:avLst/>
              </a:prstGeom>
              <a:noFill/>
            </p:spPr>
            <p:txBody>
              <a:bodyPr wrap="square" lIns="0" tIns="46800" rIns="0" bIns="46800" rtlCol="0" anchor="t">
                <a:spAutoFit/>
              </a:bodyPr>
              <a:lstStyle/>
              <a:p>
                <a:pPr lvl="0">
                  <a:defRPr/>
                </a:pPr>
                <a:r>
                  <a:rPr lang="fr-FR" sz="1600" dirty="0">
                    <a:solidFill>
                      <a:prstClr val="white"/>
                    </a:solidFill>
                    <a:latin typeface="Aptos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rPr>
                  <a:t>Description courte en 3 phrases</a:t>
                </a:r>
              </a:p>
            </p:txBody>
          </p:sp>
          <p:grpSp>
            <p:nvGrpSpPr>
              <p:cNvPr id="193" name="Group 192">
                <a:extLst>
                  <a:ext uri="{FF2B5EF4-FFF2-40B4-BE49-F238E27FC236}">
                    <a16:creationId xmlns:a16="http://schemas.microsoft.com/office/drawing/2014/main" id="{6AA85997-B66D-96F1-E350-D6F8710C66B2}"/>
                  </a:ext>
                </a:extLst>
              </p:cNvPr>
              <p:cNvGrpSpPr/>
              <p:nvPr/>
            </p:nvGrpSpPr>
            <p:grpSpPr>
              <a:xfrm>
                <a:off x="8585199" y="2853168"/>
                <a:ext cx="3391761" cy="350549"/>
                <a:chOff x="457198" y="2853168"/>
                <a:chExt cx="3391761" cy="350549"/>
              </a:xfrm>
            </p:grpSpPr>
            <p:sp>
              <p:nvSpPr>
                <p:cNvPr id="194" name="Rectangle 193">
                  <a:extLst>
                    <a:ext uri="{FF2B5EF4-FFF2-40B4-BE49-F238E27FC236}">
                      <a16:creationId xmlns:a16="http://schemas.microsoft.com/office/drawing/2014/main" id="{E05662D9-A79A-E2A9-A67C-B7D8BEDECBED}"/>
                    </a:ext>
                  </a:extLst>
                </p:cNvPr>
                <p:cNvSpPr/>
                <p:nvPr/>
              </p:nvSpPr>
              <p:spPr>
                <a:xfrm>
                  <a:off x="872067" y="2872847"/>
                  <a:ext cx="2976892" cy="330870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t"/>
                <a:lstStyle/>
                <a:p>
                  <a:r>
                    <a:rPr lang="fr-FR" sz="1600" noProof="0" dirty="0">
                      <a:solidFill>
                        <a:schemeClr val="bg1"/>
                      </a:solidFill>
                      <a:latin typeface="Aptos" panose="020B0004020202020204" pitchFamily="34" charset="0"/>
                      <a:ea typeface="Lato" panose="020F0502020204030203" pitchFamily="34" charset="0"/>
                      <a:cs typeface="Lato" panose="020F0502020204030203" pitchFamily="34" charset="0"/>
                    </a:rPr>
                    <a:t>Point 1</a:t>
                  </a:r>
                </a:p>
              </p:txBody>
            </p:sp>
            <p:pic>
              <p:nvPicPr>
                <p:cNvPr id="195" name="Graphic 194" descr="Badge Unfollow with solid fill">
                  <a:extLst>
                    <a:ext uri="{FF2B5EF4-FFF2-40B4-BE49-F238E27FC236}">
                      <a16:creationId xmlns:a16="http://schemas.microsoft.com/office/drawing/2014/main" id="{5177CB51-7B73-88FE-24B5-8C62FC3F3E0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57198" y="2853168"/>
                  <a:ext cx="285558" cy="285558"/>
                </a:xfrm>
                <a:prstGeom prst="rect">
                  <a:avLst/>
                </a:prstGeom>
              </p:spPr>
            </p:pic>
          </p:grpSp>
          <p:grpSp>
            <p:nvGrpSpPr>
              <p:cNvPr id="196" name="Group 195">
                <a:extLst>
                  <a:ext uri="{FF2B5EF4-FFF2-40B4-BE49-F238E27FC236}">
                    <a16:creationId xmlns:a16="http://schemas.microsoft.com/office/drawing/2014/main" id="{5B6BE459-68A7-2814-835C-644EB7DED189}"/>
                  </a:ext>
                </a:extLst>
              </p:cNvPr>
              <p:cNvGrpSpPr/>
              <p:nvPr/>
            </p:nvGrpSpPr>
            <p:grpSpPr>
              <a:xfrm>
                <a:off x="8585199" y="4135064"/>
                <a:ext cx="3391761" cy="350549"/>
                <a:chOff x="457198" y="3286221"/>
                <a:chExt cx="3391761" cy="350549"/>
              </a:xfrm>
            </p:grpSpPr>
            <p:sp>
              <p:nvSpPr>
                <p:cNvPr id="197" name="Rectangle 196">
                  <a:extLst>
                    <a:ext uri="{FF2B5EF4-FFF2-40B4-BE49-F238E27FC236}">
                      <a16:creationId xmlns:a16="http://schemas.microsoft.com/office/drawing/2014/main" id="{A1F9D245-49C4-276F-B8DA-9D56DE8FB09D}"/>
                    </a:ext>
                  </a:extLst>
                </p:cNvPr>
                <p:cNvSpPr/>
                <p:nvPr/>
              </p:nvSpPr>
              <p:spPr>
                <a:xfrm>
                  <a:off x="872067" y="3305900"/>
                  <a:ext cx="2976892" cy="330870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t"/>
                <a:lstStyle/>
                <a:p>
                  <a:r>
                    <a:rPr lang="fr-FR" sz="1600" dirty="0">
                      <a:solidFill>
                        <a:schemeClr val="bg1"/>
                      </a:solidFill>
                      <a:latin typeface="Aptos" panose="020B0004020202020204" pitchFamily="34" charset="0"/>
                      <a:ea typeface="Lato" panose="020F0502020204030203" pitchFamily="34" charset="0"/>
                      <a:cs typeface="Lato" panose="020F0502020204030203" pitchFamily="34" charset="0"/>
                    </a:rPr>
                    <a:t>Point 1</a:t>
                  </a:r>
                </a:p>
              </p:txBody>
            </p:sp>
            <p:pic>
              <p:nvPicPr>
                <p:cNvPr id="198" name="Graphic 197" descr="Badge Unfollow with solid fill">
                  <a:extLst>
                    <a:ext uri="{FF2B5EF4-FFF2-40B4-BE49-F238E27FC236}">
                      <a16:creationId xmlns:a16="http://schemas.microsoft.com/office/drawing/2014/main" id="{B94CFB6F-D2F7-1824-D948-DBC6DF9AF87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57198" y="3286221"/>
                  <a:ext cx="285558" cy="285558"/>
                </a:xfrm>
                <a:prstGeom prst="rect">
                  <a:avLst/>
                </a:prstGeom>
              </p:spPr>
            </p:pic>
          </p:grpSp>
          <p:grpSp>
            <p:nvGrpSpPr>
              <p:cNvPr id="199" name="Group 198">
                <a:extLst>
                  <a:ext uri="{FF2B5EF4-FFF2-40B4-BE49-F238E27FC236}">
                    <a16:creationId xmlns:a16="http://schemas.microsoft.com/office/drawing/2014/main" id="{25009A7C-2E88-1F6B-A958-5E42D18C1654}"/>
                  </a:ext>
                </a:extLst>
              </p:cNvPr>
              <p:cNvGrpSpPr/>
              <p:nvPr/>
            </p:nvGrpSpPr>
            <p:grpSpPr>
              <a:xfrm>
                <a:off x="8585199" y="5416959"/>
                <a:ext cx="3391761" cy="350549"/>
                <a:chOff x="457198" y="3719274"/>
                <a:chExt cx="3391761" cy="350549"/>
              </a:xfrm>
            </p:grpSpPr>
            <p:sp>
              <p:nvSpPr>
                <p:cNvPr id="200" name="Rectangle 199">
                  <a:extLst>
                    <a:ext uri="{FF2B5EF4-FFF2-40B4-BE49-F238E27FC236}">
                      <a16:creationId xmlns:a16="http://schemas.microsoft.com/office/drawing/2014/main" id="{DB9C64AF-5B93-DAFE-88DB-AB3B6376197E}"/>
                    </a:ext>
                  </a:extLst>
                </p:cNvPr>
                <p:cNvSpPr/>
                <p:nvPr/>
              </p:nvSpPr>
              <p:spPr>
                <a:xfrm>
                  <a:off x="872067" y="3738953"/>
                  <a:ext cx="2976892" cy="330870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t"/>
                <a:lstStyle/>
                <a:p>
                  <a:r>
                    <a:rPr lang="fr-FR" sz="1600" dirty="0">
                      <a:solidFill>
                        <a:schemeClr val="bg1"/>
                      </a:solidFill>
                      <a:latin typeface="Aptos" panose="020B0004020202020204" pitchFamily="34" charset="0"/>
                      <a:ea typeface="Lato" panose="020F0502020204030203" pitchFamily="34" charset="0"/>
                      <a:cs typeface="Lato" panose="020F0502020204030203" pitchFamily="34" charset="0"/>
                    </a:rPr>
                    <a:t>Point 1</a:t>
                  </a:r>
                </a:p>
              </p:txBody>
            </p:sp>
            <p:pic>
              <p:nvPicPr>
                <p:cNvPr id="201" name="Graphic 200" descr="Badge Unfollow with solid fill">
                  <a:extLst>
                    <a:ext uri="{FF2B5EF4-FFF2-40B4-BE49-F238E27FC236}">
                      <a16:creationId xmlns:a16="http://schemas.microsoft.com/office/drawing/2014/main" id="{D1676D29-2E1D-4D94-7D62-9ED5C00E8A1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57198" y="3719274"/>
                  <a:ext cx="285558" cy="285558"/>
                </a:xfrm>
                <a:prstGeom prst="rect">
                  <a:avLst/>
                </a:prstGeom>
              </p:spPr>
            </p:pic>
          </p:grpSp>
        </p:grp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7492FB4B-AA62-47BC-24C5-83E96006CF86}"/>
              </a:ext>
            </a:extLst>
          </p:cNvPr>
          <p:cNvGrpSpPr/>
          <p:nvPr/>
        </p:nvGrpSpPr>
        <p:grpSpPr>
          <a:xfrm>
            <a:off x="4063999" y="0"/>
            <a:ext cx="4064000" cy="6858000"/>
            <a:chOff x="4063999" y="0"/>
            <a:chExt cx="4064000" cy="6858000"/>
          </a:xfrm>
        </p:grpSpPr>
        <p:sp>
          <p:nvSpPr>
            <p:cNvPr id="139" name="Rectangle 138">
              <a:extLst>
                <a:ext uri="{FF2B5EF4-FFF2-40B4-BE49-F238E27FC236}">
                  <a16:creationId xmlns:a16="http://schemas.microsoft.com/office/drawing/2014/main" id="{A6A48473-996D-9D33-2C30-8DD7881A2235}"/>
                </a:ext>
              </a:extLst>
            </p:cNvPr>
            <p:cNvSpPr/>
            <p:nvPr/>
          </p:nvSpPr>
          <p:spPr>
            <a:xfrm rot="10800000">
              <a:off x="4063999" y="0"/>
              <a:ext cx="4064000" cy="6858000"/>
            </a:xfrm>
            <a:prstGeom prst="rect">
              <a:avLst/>
            </a:prstGeom>
            <a:blipFill>
              <a:blip r:embed="rId6"/>
              <a:stretch>
                <a:fillRect/>
              </a:stretch>
            </a:blipFill>
            <a:ln>
              <a:noFill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fr-FR" sz="1600" b="1" noProof="0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149" name="TextBox 148">
              <a:extLst>
                <a:ext uri="{FF2B5EF4-FFF2-40B4-BE49-F238E27FC236}">
                  <a16:creationId xmlns:a16="http://schemas.microsoft.com/office/drawing/2014/main" id="{7F1FF443-C4BB-8243-4392-A412DE9E78C1}"/>
                </a:ext>
              </a:extLst>
            </p:cNvPr>
            <p:cNvSpPr txBox="1"/>
            <p:nvPr/>
          </p:nvSpPr>
          <p:spPr>
            <a:xfrm>
              <a:off x="4521199" y="492774"/>
              <a:ext cx="3149600" cy="833178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pPr lvl="0">
                <a:defRPr/>
              </a:pPr>
              <a:r>
                <a:rPr lang="fr-FR" sz="2400" b="1" noProof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Situation actuelle pour Bombay.</a:t>
              </a:r>
              <a:endParaRPr lang="fr-FR" sz="2400" b="1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152" name="TextBox 151">
              <a:extLst>
                <a:ext uri="{FF2B5EF4-FFF2-40B4-BE49-F238E27FC236}">
                  <a16:creationId xmlns:a16="http://schemas.microsoft.com/office/drawing/2014/main" id="{25F15578-39E1-92AE-AB53-F79FA1D36C6B}"/>
                </a:ext>
              </a:extLst>
            </p:cNvPr>
            <p:cNvSpPr txBox="1"/>
            <p:nvPr/>
          </p:nvSpPr>
          <p:spPr>
            <a:xfrm>
              <a:off x="4521199" y="1584974"/>
              <a:ext cx="3149600" cy="340735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pPr lvl="0">
                <a:defRPr/>
              </a:pPr>
              <a:r>
                <a:rPr lang="fr-FR" sz="1600" noProof="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Description courte en 3 phrases</a:t>
              </a:r>
            </a:p>
          </p:txBody>
        </p:sp>
        <p:grpSp>
          <p:nvGrpSpPr>
            <p:cNvPr id="184" name="Group 183">
              <a:extLst>
                <a:ext uri="{FF2B5EF4-FFF2-40B4-BE49-F238E27FC236}">
                  <a16:creationId xmlns:a16="http://schemas.microsoft.com/office/drawing/2014/main" id="{23559B24-5B7C-50F4-8D0F-41EE6988BDF4}"/>
                </a:ext>
              </a:extLst>
            </p:cNvPr>
            <p:cNvGrpSpPr/>
            <p:nvPr/>
          </p:nvGrpSpPr>
          <p:grpSpPr>
            <a:xfrm>
              <a:off x="4521198" y="2853168"/>
              <a:ext cx="3391761" cy="350549"/>
              <a:chOff x="457198" y="2853168"/>
              <a:chExt cx="3391761" cy="350549"/>
            </a:xfrm>
          </p:grpSpPr>
          <p:sp>
            <p:nvSpPr>
              <p:cNvPr id="185" name="Rectangle 184">
                <a:extLst>
                  <a:ext uri="{FF2B5EF4-FFF2-40B4-BE49-F238E27FC236}">
                    <a16:creationId xmlns:a16="http://schemas.microsoft.com/office/drawing/2014/main" id="{2724B3C0-2BC3-4676-0E73-9481F35CAB88}"/>
                  </a:ext>
                </a:extLst>
              </p:cNvPr>
              <p:cNvSpPr/>
              <p:nvPr/>
            </p:nvSpPr>
            <p:spPr>
              <a:xfrm>
                <a:off x="872067" y="2872847"/>
                <a:ext cx="2976892" cy="33087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/>
              <a:p>
                <a:r>
                  <a:rPr lang="fr-FR" sz="1600" noProof="0" dirty="0">
                    <a:solidFill>
                      <a:schemeClr val="tx1"/>
                    </a:solidFill>
                    <a:latin typeface="Aptos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rPr>
                  <a:t>Point 1</a:t>
                </a:r>
              </a:p>
            </p:txBody>
          </p:sp>
          <p:pic>
            <p:nvPicPr>
              <p:cNvPr id="186" name="Graphic 185" descr="Badge Unfollow with solid fill">
                <a:extLst>
                  <a:ext uri="{FF2B5EF4-FFF2-40B4-BE49-F238E27FC236}">
                    <a16:creationId xmlns:a16="http://schemas.microsoft.com/office/drawing/2014/main" id="{292F967A-35C4-AC01-E094-0EA7450D29D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457198" y="2853168"/>
                <a:ext cx="285558" cy="285558"/>
              </a:xfrm>
              <a:prstGeom prst="rect">
                <a:avLst/>
              </a:prstGeom>
            </p:spPr>
          </p:pic>
        </p:grpSp>
        <p:grpSp>
          <p:nvGrpSpPr>
            <p:cNvPr id="187" name="Group 186">
              <a:extLst>
                <a:ext uri="{FF2B5EF4-FFF2-40B4-BE49-F238E27FC236}">
                  <a16:creationId xmlns:a16="http://schemas.microsoft.com/office/drawing/2014/main" id="{F77FFA3D-21D7-D2CB-40EA-0BE5D4F90B4D}"/>
                </a:ext>
              </a:extLst>
            </p:cNvPr>
            <p:cNvGrpSpPr/>
            <p:nvPr/>
          </p:nvGrpSpPr>
          <p:grpSpPr>
            <a:xfrm>
              <a:off x="4521198" y="4135064"/>
              <a:ext cx="3391761" cy="350549"/>
              <a:chOff x="457198" y="3286221"/>
              <a:chExt cx="3391761" cy="350549"/>
            </a:xfrm>
          </p:grpSpPr>
          <p:sp>
            <p:nvSpPr>
              <p:cNvPr id="188" name="Rectangle 187">
                <a:extLst>
                  <a:ext uri="{FF2B5EF4-FFF2-40B4-BE49-F238E27FC236}">
                    <a16:creationId xmlns:a16="http://schemas.microsoft.com/office/drawing/2014/main" id="{F50D46F7-A186-2931-9E86-67EDFC07FCC8}"/>
                  </a:ext>
                </a:extLst>
              </p:cNvPr>
              <p:cNvSpPr/>
              <p:nvPr/>
            </p:nvSpPr>
            <p:spPr>
              <a:xfrm>
                <a:off x="872067" y="3305900"/>
                <a:ext cx="2976892" cy="33087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/>
              <a:p>
                <a:r>
                  <a:rPr lang="fr-FR" sz="1600" dirty="0">
                    <a:solidFill>
                      <a:schemeClr val="tx1"/>
                    </a:solidFill>
                    <a:latin typeface="Aptos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rPr>
                  <a:t>Point 1</a:t>
                </a:r>
              </a:p>
            </p:txBody>
          </p:sp>
          <p:pic>
            <p:nvPicPr>
              <p:cNvPr id="189" name="Graphic 188" descr="Badge Unfollow with solid fill">
                <a:extLst>
                  <a:ext uri="{FF2B5EF4-FFF2-40B4-BE49-F238E27FC236}">
                    <a16:creationId xmlns:a16="http://schemas.microsoft.com/office/drawing/2014/main" id="{E353988B-9D9C-F2A6-B243-8A34D712444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457198" y="3286221"/>
                <a:ext cx="285558" cy="285558"/>
              </a:xfrm>
              <a:prstGeom prst="rect">
                <a:avLst/>
              </a:prstGeom>
            </p:spPr>
          </p:pic>
        </p:grpSp>
        <p:grpSp>
          <p:nvGrpSpPr>
            <p:cNvPr id="190" name="Group 189">
              <a:extLst>
                <a:ext uri="{FF2B5EF4-FFF2-40B4-BE49-F238E27FC236}">
                  <a16:creationId xmlns:a16="http://schemas.microsoft.com/office/drawing/2014/main" id="{388AD058-CBA6-6E70-961F-7ADC1377D13C}"/>
                </a:ext>
              </a:extLst>
            </p:cNvPr>
            <p:cNvGrpSpPr/>
            <p:nvPr/>
          </p:nvGrpSpPr>
          <p:grpSpPr>
            <a:xfrm>
              <a:off x="4521198" y="5416959"/>
              <a:ext cx="3391761" cy="350549"/>
              <a:chOff x="457198" y="3719274"/>
              <a:chExt cx="3391761" cy="350549"/>
            </a:xfrm>
          </p:grpSpPr>
          <p:sp>
            <p:nvSpPr>
              <p:cNvPr id="191" name="Rectangle 190">
                <a:extLst>
                  <a:ext uri="{FF2B5EF4-FFF2-40B4-BE49-F238E27FC236}">
                    <a16:creationId xmlns:a16="http://schemas.microsoft.com/office/drawing/2014/main" id="{417A7B67-FDF5-42B5-CB44-0E338B0F4202}"/>
                  </a:ext>
                </a:extLst>
              </p:cNvPr>
              <p:cNvSpPr/>
              <p:nvPr/>
            </p:nvSpPr>
            <p:spPr>
              <a:xfrm>
                <a:off x="872067" y="3738953"/>
                <a:ext cx="2976892" cy="33087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/>
              <a:p>
                <a:r>
                  <a:rPr lang="fr-FR" sz="1600" dirty="0">
                    <a:solidFill>
                      <a:schemeClr val="tx1"/>
                    </a:solidFill>
                    <a:latin typeface="Aptos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rPr>
                  <a:t>Point 1</a:t>
                </a:r>
              </a:p>
            </p:txBody>
          </p:sp>
          <p:pic>
            <p:nvPicPr>
              <p:cNvPr id="192" name="Graphic 191" descr="Badge Unfollow with solid fill">
                <a:extLst>
                  <a:ext uri="{FF2B5EF4-FFF2-40B4-BE49-F238E27FC236}">
                    <a16:creationId xmlns:a16="http://schemas.microsoft.com/office/drawing/2014/main" id="{D36339A7-3226-6C71-4777-8C28BDB81CF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457198" y="3719274"/>
                <a:ext cx="285558" cy="285558"/>
              </a:xfrm>
              <a:prstGeom prst="rect">
                <a:avLst/>
              </a:prstGeom>
            </p:spPr>
          </p:pic>
        </p:grp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91933270-1485-0953-66FC-BE33E3C9C877}"/>
              </a:ext>
            </a:extLst>
          </p:cNvPr>
          <p:cNvGrpSpPr/>
          <p:nvPr/>
        </p:nvGrpSpPr>
        <p:grpSpPr>
          <a:xfrm>
            <a:off x="-1" y="0"/>
            <a:ext cx="4063999" cy="6858000"/>
            <a:chOff x="-1" y="0"/>
            <a:chExt cx="4063999" cy="6858000"/>
          </a:xfrm>
        </p:grpSpPr>
        <p:sp>
          <p:nvSpPr>
            <p:cNvPr id="138" name="Rectangle 137">
              <a:extLst>
                <a:ext uri="{FF2B5EF4-FFF2-40B4-BE49-F238E27FC236}">
                  <a16:creationId xmlns:a16="http://schemas.microsoft.com/office/drawing/2014/main" id="{B700A635-EBE9-2202-9F7D-52B637E21D0B}"/>
                </a:ext>
              </a:extLst>
            </p:cNvPr>
            <p:cNvSpPr/>
            <p:nvPr/>
          </p:nvSpPr>
          <p:spPr>
            <a:xfrm>
              <a:off x="0" y="0"/>
              <a:ext cx="4063998" cy="6858000"/>
            </a:xfrm>
            <a:prstGeom prst="rect">
              <a:avLst/>
            </a:prstGeom>
            <a:blipFill dpi="0" rotWithShape="1">
              <a:blip r:embed="rId9"/>
              <a:srcRect/>
              <a:stretch>
                <a:fillRect l="-39792" r="-35001"/>
              </a:stretch>
            </a:blipFill>
            <a:ln>
              <a:noFill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fr-FR" sz="1600" b="1" noProof="0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146" name="Rectangle 145">
              <a:extLst>
                <a:ext uri="{FF2B5EF4-FFF2-40B4-BE49-F238E27FC236}">
                  <a16:creationId xmlns:a16="http://schemas.microsoft.com/office/drawing/2014/main" id="{57B29B75-DCE2-9C9D-065F-73029907F72A}"/>
                </a:ext>
              </a:extLst>
            </p:cNvPr>
            <p:cNvSpPr/>
            <p:nvPr/>
          </p:nvSpPr>
          <p:spPr>
            <a:xfrm>
              <a:off x="-1" y="0"/>
              <a:ext cx="4063999" cy="6858000"/>
            </a:xfrm>
            <a:prstGeom prst="rect">
              <a:avLst/>
            </a:prstGeom>
            <a:solidFill>
              <a:srgbClr val="303237">
                <a:alpha val="69804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ctr"/>
              <a:endParaRPr lang="fr-FR" sz="1600" b="1" noProof="0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sp>
        <p:nvSpPr>
          <p:cNvPr id="148" name="TextBox 147">
            <a:extLst>
              <a:ext uri="{FF2B5EF4-FFF2-40B4-BE49-F238E27FC236}">
                <a16:creationId xmlns:a16="http://schemas.microsoft.com/office/drawing/2014/main" id="{5DC00194-8A5F-85AE-A4AB-06D44195E5F2}"/>
              </a:ext>
            </a:extLst>
          </p:cNvPr>
          <p:cNvSpPr txBox="1"/>
          <p:nvPr/>
        </p:nvSpPr>
        <p:spPr>
          <a:xfrm>
            <a:off x="457198" y="492774"/>
            <a:ext cx="3149600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pPr lvl="0">
              <a:defRPr/>
            </a:pPr>
            <a:r>
              <a:rPr lang="fr-FR" sz="2400" b="1">
                <a:solidFill>
                  <a:prstClr val="white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Marché du Gin chez Leclerc.</a:t>
            </a:r>
            <a:endParaRPr lang="fr-FR" sz="1600" i="1" noProof="0" dirty="0">
              <a:solidFill>
                <a:prstClr val="white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51" name="TextBox 150">
            <a:extLst>
              <a:ext uri="{FF2B5EF4-FFF2-40B4-BE49-F238E27FC236}">
                <a16:creationId xmlns:a16="http://schemas.microsoft.com/office/drawing/2014/main" id="{B40358B5-434F-AFF5-2087-0222BF5F2D01}"/>
              </a:ext>
            </a:extLst>
          </p:cNvPr>
          <p:cNvSpPr txBox="1"/>
          <p:nvPr/>
        </p:nvSpPr>
        <p:spPr>
          <a:xfrm>
            <a:off x="457198" y="1584974"/>
            <a:ext cx="3149600" cy="340735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pPr lvl="0">
              <a:defRPr/>
            </a:pPr>
            <a:r>
              <a:rPr lang="fr-FR" sz="1600" noProof="0" dirty="0">
                <a:solidFill>
                  <a:prstClr val="white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Description courte en 3 phrases</a:t>
            </a:r>
          </a:p>
        </p:txBody>
      </p:sp>
      <p:grpSp>
        <p:nvGrpSpPr>
          <p:cNvPr id="183" name="Group 182">
            <a:extLst>
              <a:ext uri="{FF2B5EF4-FFF2-40B4-BE49-F238E27FC236}">
                <a16:creationId xmlns:a16="http://schemas.microsoft.com/office/drawing/2014/main" id="{14C8F7E6-41F1-A15D-DE02-7ACACA2372D3}"/>
              </a:ext>
            </a:extLst>
          </p:cNvPr>
          <p:cNvGrpSpPr/>
          <p:nvPr/>
        </p:nvGrpSpPr>
        <p:grpSpPr>
          <a:xfrm>
            <a:off x="457198" y="2853168"/>
            <a:ext cx="3391761" cy="350549"/>
            <a:chOff x="457198" y="2853168"/>
            <a:chExt cx="3391761" cy="350549"/>
          </a:xfrm>
        </p:grpSpPr>
        <p:sp>
          <p:nvSpPr>
            <p:cNvPr id="164" name="Rectangle 163">
              <a:extLst>
                <a:ext uri="{FF2B5EF4-FFF2-40B4-BE49-F238E27FC236}">
                  <a16:creationId xmlns:a16="http://schemas.microsoft.com/office/drawing/2014/main" id="{60DAE088-D860-B754-9438-6714865EAE70}"/>
                </a:ext>
              </a:extLst>
            </p:cNvPr>
            <p:cNvSpPr/>
            <p:nvPr/>
          </p:nvSpPr>
          <p:spPr>
            <a:xfrm>
              <a:off x="872067" y="2872847"/>
              <a:ext cx="2976892" cy="33087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r>
                <a:rPr lang="fr-FR" sz="1600" noProof="0" dirty="0">
                  <a:solidFill>
                    <a:schemeClr val="bg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Point 1</a:t>
              </a:r>
            </a:p>
          </p:txBody>
        </p:sp>
        <p:pic>
          <p:nvPicPr>
            <p:cNvPr id="176" name="Graphic 175" descr="Badge Unfollow with solid fill">
              <a:extLst>
                <a:ext uri="{FF2B5EF4-FFF2-40B4-BE49-F238E27FC236}">
                  <a16:creationId xmlns:a16="http://schemas.microsoft.com/office/drawing/2014/main" id="{9B44AA5F-D11B-5FEF-CE2E-A4DFA4081D2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57198" y="2853168"/>
              <a:ext cx="285558" cy="285558"/>
            </a:xfrm>
            <a:prstGeom prst="rect">
              <a:avLst/>
            </a:prstGeom>
          </p:spPr>
        </p:pic>
      </p:grpSp>
      <p:grpSp>
        <p:nvGrpSpPr>
          <p:cNvPr id="182" name="Group 181">
            <a:extLst>
              <a:ext uri="{FF2B5EF4-FFF2-40B4-BE49-F238E27FC236}">
                <a16:creationId xmlns:a16="http://schemas.microsoft.com/office/drawing/2014/main" id="{9A5209CB-5A04-234A-F55B-4C5D17F145AB}"/>
              </a:ext>
            </a:extLst>
          </p:cNvPr>
          <p:cNvGrpSpPr/>
          <p:nvPr/>
        </p:nvGrpSpPr>
        <p:grpSpPr>
          <a:xfrm>
            <a:off x="457198" y="4135064"/>
            <a:ext cx="3391761" cy="350549"/>
            <a:chOff x="457198" y="3286221"/>
            <a:chExt cx="3391761" cy="350549"/>
          </a:xfrm>
        </p:grpSpPr>
        <p:sp>
          <p:nvSpPr>
            <p:cNvPr id="165" name="Rectangle 164">
              <a:extLst>
                <a:ext uri="{FF2B5EF4-FFF2-40B4-BE49-F238E27FC236}">
                  <a16:creationId xmlns:a16="http://schemas.microsoft.com/office/drawing/2014/main" id="{78801C31-D1D8-0570-5B08-47E9C0033A57}"/>
                </a:ext>
              </a:extLst>
            </p:cNvPr>
            <p:cNvSpPr/>
            <p:nvPr/>
          </p:nvSpPr>
          <p:spPr>
            <a:xfrm>
              <a:off x="872067" y="3305900"/>
              <a:ext cx="2976892" cy="33087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r>
                <a:rPr lang="fr-FR" sz="1600" dirty="0">
                  <a:solidFill>
                    <a:schemeClr val="bg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Point 1</a:t>
              </a:r>
            </a:p>
          </p:txBody>
        </p:sp>
        <p:pic>
          <p:nvPicPr>
            <p:cNvPr id="177" name="Graphic 176" descr="Badge Unfollow with solid fill">
              <a:extLst>
                <a:ext uri="{FF2B5EF4-FFF2-40B4-BE49-F238E27FC236}">
                  <a16:creationId xmlns:a16="http://schemas.microsoft.com/office/drawing/2014/main" id="{08085631-D6A1-ECB8-7C18-51748267904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57198" y="3286221"/>
              <a:ext cx="285558" cy="285558"/>
            </a:xfrm>
            <a:prstGeom prst="rect">
              <a:avLst/>
            </a:prstGeom>
          </p:spPr>
        </p:pic>
      </p:grpSp>
      <p:grpSp>
        <p:nvGrpSpPr>
          <p:cNvPr id="181" name="Group 180">
            <a:extLst>
              <a:ext uri="{FF2B5EF4-FFF2-40B4-BE49-F238E27FC236}">
                <a16:creationId xmlns:a16="http://schemas.microsoft.com/office/drawing/2014/main" id="{FA10A3C7-8965-5D47-37AE-5D9B1AB2BB77}"/>
              </a:ext>
            </a:extLst>
          </p:cNvPr>
          <p:cNvGrpSpPr/>
          <p:nvPr/>
        </p:nvGrpSpPr>
        <p:grpSpPr>
          <a:xfrm>
            <a:off x="457198" y="5416959"/>
            <a:ext cx="3391761" cy="350549"/>
            <a:chOff x="457198" y="3719274"/>
            <a:chExt cx="3391761" cy="350549"/>
          </a:xfrm>
        </p:grpSpPr>
        <p:sp>
          <p:nvSpPr>
            <p:cNvPr id="166" name="Rectangle 165">
              <a:extLst>
                <a:ext uri="{FF2B5EF4-FFF2-40B4-BE49-F238E27FC236}">
                  <a16:creationId xmlns:a16="http://schemas.microsoft.com/office/drawing/2014/main" id="{E3B68DB5-1D50-2764-4CBC-DF526C257189}"/>
                </a:ext>
              </a:extLst>
            </p:cNvPr>
            <p:cNvSpPr/>
            <p:nvPr/>
          </p:nvSpPr>
          <p:spPr>
            <a:xfrm>
              <a:off x="872067" y="3738953"/>
              <a:ext cx="2976892" cy="33087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r>
                <a:rPr lang="fr-FR" sz="1600" dirty="0">
                  <a:solidFill>
                    <a:schemeClr val="bg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Point 1</a:t>
              </a:r>
            </a:p>
          </p:txBody>
        </p:sp>
        <p:pic>
          <p:nvPicPr>
            <p:cNvPr id="178" name="Graphic 177" descr="Badge Unfollow with solid fill">
              <a:extLst>
                <a:ext uri="{FF2B5EF4-FFF2-40B4-BE49-F238E27FC236}">
                  <a16:creationId xmlns:a16="http://schemas.microsoft.com/office/drawing/2014/main" id="{87A33F6F-FD62-1A98-A318-75A44B61D32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57198" y="3719274"/>
              <a:ext cx="285558" cy="285558"/>
            </a:xfrm>
            <a:prstGeom prst="rect">
              <a:avLst/>
            </a:prstGeom>
          </p:spPr>
        </p:pic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E14DFB56-5C53-EAA1-A81B-C70512942E8F}"/>
              </a:ext>
            </a:extLst>
          </p:cNvPr>
          <p:cNvSpPr txBox="1"/>
          <p:nvPr/>
        </p:nvSpPr>
        <p:spPr>
          <a:xfrm>
            <a:off x="457198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noProof="0" dirty="0" err="1">
                <a:solidFill>
                  <a:schemeClr val="bg1"/>
                </a:solidFill>
                <a:latin typeface="Aptos" panose="020B0004020202020204" pitchFamily="34" charset="0"/>
              </a:rPr>
              <a:t>Executive</a:t>
            </a:r>
            <a:r>
              <a:rPr lang="fr-FR" sz="1600" noProof="0" dirty="0">
                <a:solidFill>
                  <a:schemeClr val="bg1"/>
                </a:solidFill>
                <a:latin typeface="Aptos" panose="020B0004020202020204" pitchFamily="34" charset="0"/>
              </a:rPr>
              <a:t> </a:t>
            </a:r>
            <a:r>
              <a:rPr lang="fr-FR" sz="1600" noProof="0" dirty="0" err="1">
                <a:solidFill>
                  <a:schemeClr val="bg1"/>
                </a:solidFill>
                <a:latin typeface="Aptos" panose="020B0004020202020204" pitchFamily="34" charset="0"/>
              </a:rPr>
              <a:t>summary</a:t>
            </a:r>
            <a:endParaRPr lang="fr-FR" sz="2800" b="1" noProof="0" dirty="0">
              <a:solidFill>
                <a:schemeClr val="bg1"/>
              </a:solidFill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7F3629BF-3374-72A2-BFE9-44AE3AE0E6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>
                <a:solidFill>
                  <a:schemeClr val="bg1"/>
                </a:solidFill>
              </a:rPr>
              <a:t>4</a:t>
            </a:fld>
            <a:endParaRPr lang="fr-FR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638363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486038-338C-5861-3105-F6EFB79791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FF977F88-7660-DA88-D582-905F2FC567F8}"/>
              </a:ext>
            </a:extLst>
          </p:cNvPr>
          <p:cNvGrpSpPr/>
          <p:nvPr/>
        </p:nvGrpSpPr>
        <p:grpSpPr>
          <a:xfrm>
            <a:off x="-1" y="0"/>
            <a:ext cx="7421078" cy="6858000"/>
            <a:chOff x="-1" y="0"/>
            <a:chExt cx="7421078" cy="685800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D69E4494-7C11-91E5-FDA0-0619586694FC}"/>
                </a:ext>
              </a:extLst>
            </p:cNvPr>
            <p:cNvSpPr/>
            <p:nvPr/>
          </p:nvSpPr>
          <p:spPr>
            <a:xfrm>
              <a:off x="1" y="4454"/>
              <a:ext cx="7421076" cy="6853546"/>
            </a:xfrm>
            <a:prstGeom prst="rect">
              <a:avLst/>
            </a:prstGeom>
            <a:blipFill>
              <a:blip r:embed="rId3"/>
              <a:stretch>
                <a:fillRect l="-9598" r="-9598"/>
              </a:stretch>
            </a:blip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fr-FR" sz="1600" b="1" noProof="0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A0A61254-ED8E-6075-30E9-07F0F90F1774}"/>
                </a:ext>
              </a:extLst>
            </p:cNvPr>
            <p:cNvSpPr/>
            <p:nvPr/>
          </p:nvSpPr>
          <p:spPr>
            <a:xfrm>
              <a:off x="-1" y="0"/>
              <a:ext cx="7421076" cy="6858000"/>
            </a:xfrm>
            <a:prstGeom prst="rect">
              <a:avLst/>
            </a:prstGeom>
            <a:solidFill>
              <a:srgbClr val="303237">
                <a:alpha val="69804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fr-FR" sz="8800" b="1" noProof="0" dirty="0">
                <a:solidFill>
                  <a:schemeClr val="tx1">
                    <a:lumMod val="50000"/>
                    <a:lumOff val="50000"/>
                  </a:schemeClr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endParaRPr>
            </a:p>
          </p:txBody>
        </p:sp>
      </p:grp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1804E183-3F50-E3B7-C1B6-48BD0A75EBFE}"/>
              </a:ext>
            </a:extLst>
          </p:cNvPr>
          <p:cNvSpPr/>
          <p:nvPr/>
        </p:nvSpPr>
        <p:spPr>
          <a:xfrm>
            <a:off x="5544152" y="524576"/>
            <a:ext cx="6188400" cy="5808848"/>
          </a:xfrm>
          <a:prstGeom prst="roundRect">
            <a:avLst>
              <a:gd name="adj" fmla="val 4074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tIns="468000" rIns="0" bIns="0" rtlCol="0" anchor="t"/>
          <a:lstStyle/>
          <a:p>
            <a:pPr algn="l"/>
            <a:r>
              <a:rPr lang="fr-FR" sz="2400" b="1" dirty="0">
                <a:solidFill>
                  <a:schemeClr val="accent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ommaire</a:t>
            </a:r>
            <a:endParaRPr lang="fr-FR" sz="2400" b="1" noProof="0" dirty="0">
              <a:solidFill>
                <a:schemeClr val="accent1"/>
              </a:solidFill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algn="l"/>
            <a:endParaRPr lang="fr-FR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400050" indent="-400050" algn="l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texte global</a:t>
            </a:r>
          </a:p>
          <a:p>
            <a:pPr marL="400050" indent="-400050" algn="l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Distribution et assortiment</a:t>
            </a:r>
          </a:p>
          <a:p>
            <a:pPr marL="400050" indent="-400050" algn="l">
              <a:buAutoNum type="romanUcPeriod"/>
            </a:pPr>
            <a:endParaRPr lang="fr-FR" b="1" noProof="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400050" indent="-400050" algn="l">
              <a:buAutoNum type="romanUcPeriod"/>
            </a:pPr>
            <a:r>
              <a:rPr lang="fr-FR" b="1" noProof="0" dirty="0">
                <a:solidFill>
                  <a:schemeClr val="accent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olitique tarifaire</a:t>
            </a:r>
          </a:p>
          <a:p>
            <a:pPr marL="857250" lvl="1" indent="-400050">
              <a:buFont typeface="+mj-lt"/>
              <a:buAutoNum type="alphaLcPeriod"/>
            </a:pP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État des lieux du positionnement prix</a:t>
            </a:r>
          </a:p>
          <a:p>
            <a:pPr marL="857250" lvl="1" indent="-400050">
              <a:buFont typeface="+mj-lt"/>
              <a:buAutoNum type="alphaLcPeriod"/>
            </a:pP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mprendre l’évolution de vos prix</a:t>
            </a:r>
          </a:p>
          <a:p>
            <a:pPr marL="857250" lvl="1" indent="-400050">
              <a:buFont typeface="+mj-lt"/>
              <a:buAutoNum type="alphaLcPeriod"/>
            </a:pP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éagir à la concurrence</a:t>
            </a:r>
          </a:p>
          <a:p>
            <a:pPr marL="857250" lvl="1" indent="-400050">
              <a:buFont typeface="+mj-lt"/>
              <a:buAutoNum type="alphaLcPeriod"/>
            </a:pPr>
            <a:r>
              <a:rPr lang="fr-FR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1 :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Maitriser le positionnement</a:t>
            </a:r>
          </a:p>
          <a:p>
            <a:pPr marL="857250" lvl="1" indent="-400050">
              <a:buFont typeface="+mj-lt"/>
              <a:buAutoNum type="alphaLcPeriod"/>
            </a:pPr>
            <a:r>
              <a:rPr lang="fr-FR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2 :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Différencier les prix</a:t>
            </a:r>
          </a:p>
          <a:p>
            <a:pPr marL="857250" lvl="1" indent="-400050">
              <a:buFont typeface="+mj-lt"/>
              <a:buAutoNum type="alphaLcPeriod"/>
            </a:pPr>
            <a:r>
              <a:rPr lang="fr-FR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3 :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Identifier les territoires vierges</a:t>
            </a:r>
          </a:p>
          <a:p>
            <a:pPr marL="857250" lvl="1" indent="-400050">
              <a:buFont typeface="+mj-lt"/>
              <a:buAutoNum type="alphaLcPeriod"/>
            </a:pPr>
            <a:r>
              <a:rPr lang="fr-FR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5 :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rriger les incohérences</a:t>
            </a:r>
          </a:p>
          <a:p>
            <a:pPr marL="857250" lvl="1" indent="-400050">
              <a:buFont typeface="+mj-lt"/>
              <a:buAutoNum type="alphaLcPeriod"/>
            </a:pPr>
            <a:r>
              <a:rPr lang="fr-FR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6 :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uivre les prix psychologiques</a:t>
            </a:r>
          </a:p>
          <a:p>
            <a:pPr marL="400050" indent="-400050" algn="l">
              <a:buAutoNum type="romanUcPeriod"/>
            </a:pPr>
            <a:endParaRPr lang="fr-FR" b="1" noProof="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400050" indent="-400050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Analyse promotionnelle</a:t>
            </a:r>
          </a:p>
          <a:p>
            <a:pPr marL="400050" indent="-400050">
              <a:buFontTx/>
              <a:buAutoNum type="romanUcPeriod"/>
            </a:pPr>
            <a:r>
              <a:rPr lang="fr-FR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Disponibilité et ruptures</a:t>
            </a:r>
          </a:p>
          <a:p>
            <a:pPr marL="400050" indent="-400050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Territoires commerciaux</a:t>
            </a:r>
          </a:p>
          <a:p>
            <a:pPr marL="400050" indent="-400050">
              <a:buAutoNum type="romanUcPeriod"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994101227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CDCB87-EA64-CF07-E0FA-A86D3F9D77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7747DFDB-40F4-2F77-8212-4529F439D276}"/>
              </a:ext>
            </a:extLst>
          </p:cNvPr>
          <p:cNvSpPr/>
          <p:nvPr/>
        </p:nvSpPr>
        <p:spPr>
          <a:xfrm>
            <a:off x="510173" y="477224"/>
            <a:ext cx="11171654" cy="5903552"/>
          </a:xfrm>
          <a:prstGeom prst="roundRect">
            <a:avLst>
              <a:gd name="adj" fmla="val 2986"/>
            </a:avLst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91394D22-C037-1171-6FBD-4D2D413980DC}"/>
              </a:ext>
            </a:extLst>
          </p:cNvPr>
          <p:cNvSpPr/>
          <p:nvPr/>
        </p:nvSpPr>
        <p:spPr>
          <a:xfrm>
            <a:off x="510173" y="477224"/>
            <a:ext cx="11171654" cy="5903552"/>
          </a:xfrm>
          <a:prstGeom prst="roundRect">
            <a:avLst>
              <a:gd name="adj" fmla="val 2986"/>
            </a:avLst>
          </a:prstGeom>
          <a:solidFill>
            <a:schemeClr val="tx1">
              <a:lumMod val="75000"/>
              <a:lumOff val="25000"/>
              <a:alpha val="69804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DF1FFC10-41A2-D221-365F-81A50E3329B1}"/>
              </a:ext>
            </a:extLst>
          </p:cNvPr>
          <p:cNvGrpSpPr/>
          <p:nvPr/>
        </p:nvGrpSpPr>
        <p:grpSpPr>
          <a:xfrm>
            <a:off x="995351" y="896536"/>
            <a:ext cx="10060272" cy="463846"/>
            <a:chOff x="532932" y="492774"/>
            <a:chExt cx="10060272" cy="463846"/>
          </a:xfrm>
        </p:grpSpPr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12B2E647-9D30-E0E3-821E-4F91420ED241}"/>
                </a:ext>
              </a:extLst>
            </p:cNvPr>
            <p:cNvSpPr/>
            <p:nvPr/>
          </p:nvSpPr>
          <p:spPr>
            <a:xfrm>
              <a:off x="532932" y="611296"/>
              <a:ext cx="226904" cy="226904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en-US" sz="1600" b="1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D0D1E6BD-073A-ED78-E60A-4C9D5630F875}"/>
                </a:ext>
              </a:extLst>
            </p:cNvPr>
            <p:cNvSpPr txBox="1"/>
            <p:nvPr/>
          </p:nvSpPr>
          <p:spPr>
            <a:xfrm>
              <a:off x="898070" y="492774"/>
              <a:ext cx="9695134" cy="463846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2400" b="1" dirty="0">
                  <a:solidFill>
                    <a:schemeClr val="bg1"/>
                  </a:solidFill>
                  <a:latin typeface="Aptos Black" panose="020B0004020202020204" pitchFamily="34" charset="0"/>
                </a:rPr>
                <a:t>Synthèse de la partie politique tarifaire.</a:t>
              </a: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5D036B19-5869-5D13-D282-8DAB6B496434}"/>
              </a:ext>
            </a:extLst>
          </p:cNvPr>
          <p:cNvGrpSpPr/>
          <p:nvPr/>
        </p:nvGrpSpPr>
        <p:grpSpPr>
          <a:xfrm>
            <a:off x="995351" y="1559627"/>
            <a:ext cx="10347862" cy="1420993"/>
            <a:chOff x="995351" y="1603169"/>
            <a:chExt cx="10347862" cy="1420993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91614DC7-9D9B-19CA-A53C-6316D00A314E}"/>
                </a:ext>
              </a:extLst>
            </p:cNvPr>
            <p:cNvSpPr/>
            <p:nvPr/>
          </p:nvSpPr>
          <p:spPr>
            <a:xfrm>
              <a:off x="995351" y="1603169"/>
              <a:ext cx="10347862" cy="29504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600" b="1">
                  <a:solidFill>
                    <a:schemeClr val="bg1"/>
                  </a:solidFill>
                </a:rPr>
                <a:t>Quel est le positionnement prix de Bombay et quelles sont les dynamiques de marché ?</a:t>
              </a:r>
              <a:endParaRPr lang="fr-FR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CDC46711-2A74-A46B-21F8-FF0B4586BD85}"/>
                </a:ext>
              </a:extLst>
            </p:cNvPr>
            <p:cNvSpPr/>
            <p:nvPr/>
          </p:nvSpPr>
          <p:spPr>
            <a:xfrm>
              <a:off x="995351" y="1922482"/>
              <a:ext cx="10347862" cy="110168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r>
                <a:rPr lang="fr-FR" sz="1600" dirty="0">
                  <a:solidFill>
                    <a:schemeClr val="bg1"/>
                  </a:solidFill>
                </a:rPr>
                <a:t>Texte ici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1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2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3</a:t>
              </a:r>
            </a:p>
            <a:p>
              <a:endParaRPr lang="fr-FR" sz="16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E70E53AA-95CC-2C9B-E056-054EE6E348E5}"/>
              </a:ext>
            </a:extLst>
          </p:cNvPr>
          <p:cNvGrpSpPr/>
          <p:nvPr/>
        </p:nvGrpSpPr>
        <p:grpSpPr>
          <a:xfrm>
            <a:off x="995351" y="3121415"/>
            <a:ext cx="10347862" cy="1420993"/>
            <a:chOff x="995351" y="1603169"/>
            <a:chExt cx="10347862" cy="1420993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CA5F27C5-E4D0-1C20-8619-8C5AA0995408}"/>
                </a:ext>
              </a:extLst>
            </p:cNvPr>
            <p:cNvSpPr/>
            <p:nvPr/>
          </p:nvSpPr>
          <p:spPr>
            <a:xfrm>
              <a:off x="995351" y="1603169"/>
              <a:ext cx="10347862" cy="29504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600" b="1" dirty="0">
                  <a:solidFill>
                    <a:schemeClr val="bg1"/>
                  </a:solidFill>
                </a:rPr>
                <a:t>Quelles initiatives concrètes peuvent être explorées pour améliorer la politique tarifaire ?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2CB81212-7C02-53CD-4B2D-35984445D59A}"/>
                </a:ext>
              </a:extLst>
            </p:cNvPr>
            <p:cNvSpPr/>
            <p:nvPr/>
          </p:nvSpPr>
          <p:spPr>
            <a:xfrm>
              <a:off x="995351" y="1922482"/>
              <a:ext cx="10347862" cy="110168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r>
                <a:rPr lang="fr-FR" sz="1600" dirty="0">
                  <a:solidFill>
                    <a:schemeClr val="bg1"/>
                  </a:solidFill>
                </a:rPr>
                <a:t>Texte ici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1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2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3</a:t>
              </a:r>
            </a:p>
            <a:p>
              <a:endParaRPr lang="fr-FR" sz="16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9E0B7F4-D358-C63F-E3C8-C78DFAE06F90}"/>
              </a:ext>
            </a:extLst>
          </p:cNvPr>
          <p:cNvGrpSpPr/>
          <p:nvPr/>
        </p:nvGrpSpPr>
        <p:grpSpPr>
          <a:xfrm>
            <a:off x="995351" y="4683203"/>
            <a:ext cx="10347862" cy="1420993"/>
            <a:chOff x="995351" y="1603169"/>
            <a:chExt cx="10347862" cy="1420993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33A6217D-264C-9245-A131-103297FE7A45}"/>
                </a:ext>
              </a:extLst>
            </p:cNvPr>
            <p:cNvSpPr/>
            <p:nvPr/>
          </p:nvSpPr>
          <p:spPr>
            <a:xfrm>
              <a:off x="995351" y="1603169"/>
              <a:ext cx="10347862" cy="29504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600" b="1" dirty="0">
                  <a:solidFill>
                    <a:schemeClr val="bg1"/>
                  </a:solidFill>
                </a:rPr>
                <a:t>Comment approfondir l’analyse et renforcer la cohérence du positionnement prix ?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10A44F25-EDF8-DE0F-CE33-6DD14ECA66B6}"/>
                </a:ext>
              </a:extLst>
            </p:cNvPr>
            <p:cNvSpPr/>
            <p:nvPr/>
          </p:nvSpPr>
          <p:spPr>
            <a:xfrm>
              <a:off x="995351" y="1922482"/>
              <a:ext cx="10347862" cy="110168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r>
                <a:rPr lang="fr-FR" sz="1600" dirty="0">
                  <a:solidFill>
                    <a:schemeClr val="bg1"/>
                  </a:solidFill>
                </a:rPr>
                <a:t>Texte ici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1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2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3</a:t>
              </a:r>
            </a:p>
            <a:p>
              <a:endParaRPr lang="fr-FR" sz="1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95144921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2BF07E-0CF5-0FDA-E403-C6AAB358C2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77A725D-356F-F5DD-ED39-FC3BB219B7E3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A73AB38-2B68-7840-CB86-8880EC7366A0}"/>
              </a:ext>
            </a:extLst>
          </p:cNvPr>
          <p:cNvSpPr/>
          <p:nvPr/>
        </p:nvSpPr>
        <p:spPr>
          <a:xfrm>
            <a:off x="532932" y="1403928"/>
            <a:ext cx="6170852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D0D85BC2-B659-BBC2-F25B-0FE86AF11504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2610487-33F5-713E-37D7-BC559B334506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001 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9C9AADBC-9D66-1639-B156-973E54F39081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dirty="0"/>
              <a:t>A. État des lieux du positionnement prix</a:t>
            </a: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D93A875D-4B32-4FC9-49D2-B33810A1788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6B77BD7F-00C9-4938-28F1-D56B7DBC9397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 est le territoire prix des différents produits de la marque Bombay chez Leclerc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B302E305-3A9F-A927-8249-C7626887AD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42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AD667CC5-3F49-E0EC-F23D-F3631CBF20A6}"/>
              </a:ext>
            </a:extLst>
          </p:cNvPr>
          <p:cNvGrpSpPr/>
          <p:nvPr/>
        </p:nvGrpSpPr>
        <p:grpSpPr>
          <a:xfrm>
            <a:off x="898070" y="1563201"/>
            <a:ext cx="7462159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E527E549-11AB-1DC1-8A5B-6E6B7D160947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Distribution des observations prix des produits Bombay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7D96ED58-6BEC-C3D2-B570-1D1DADDB46D2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04F76B99-5E0B-947B-9C2C-3BE382E1D8EB}"/>
              </a:ext>
            </a:extLst>
          </p:cNvPr>
          <p:cNvGrpSpPr/>
          <p:nvPr/>
        </p:nvGrpSpPr>
        <p:grpSpPr>
          <a:xfrm>
            <a:off x="7284359" y="1563201"/>
            <a:ext cx="4572000" cy="534498"/>
            <a:chOff x="1050129" y="1563201"/>
            <a:chExt cx="4326467" cy="534498"/>
          </a:xfrm>
        </p:grpSpPr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89DA7154-D0BA-12E1-2BDB-DD9EAED65344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Prix moyen par produit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FB99B569-DDA3-4847-078D-67B1A7E5C4E8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3227631D-BFA3-7D73-DA95-0113AB19B84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9837" y="2088603"/>
            <a:ext cx="5607210" cy="416922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FE4788D-562B-63E3-C5B1-D3E5D64FD4C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92392" y="2088603"/>
            <a:ext cx="4994667" cy="41386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6059443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DDE25D-A117-F306-40F5-134408E4AB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BAD2E2C-BE2A-10E9-EBF8-236C637893FC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DBD9E05-D1B6-3F82-55D8-03B4C5607C78}"/>
              </a:ext>
            </a:extLst>
          </p:cNvPr>
          <p:cNvSpPr/>
          <p:nvPr/>
        </p:nvSpPr>
        <p:spPr>
          <a:xfrm>
            <a:off x="532932" y="1403928"/>
            <a:ext cx="11168066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778938B7-11BE-4828-2361-101207F2DFD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66500098"/>
              </p:ext>
            </p:extLst>
          </p:nvPr>
        </p:nvGraphicFramePr>
        <p:xfrm>
          <a:off x="898071" y="2178491"/>
          <a:ext cx="10417231" cy="400176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947021">
                  <a:extLst>
                    <a:ext uri="{9D8B030D-6E8A-4147-A177-3AD203B41FA5}">
                      <a16:colId xmlns:a16="http://schemas.microsoft.com/office/drawing/2014/main" val="4210211325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4239003844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362275851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2949818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3250347567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4281505700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280546042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2396782959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1083538864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2068261487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1760404237"/>
                    </a:ext>
                  </a:extLst>
                </a:gridCol>
              </a:tblGrid>
              <a:tr h="18000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34,11 €</a:t>
                      </a:r>
                      <a:endParaRPr lang="fr-FR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-0,44 €</a:t>
                      </a:r>
                      <a:endParaRPr lang="fr-FR" sz="1200" b="1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+0,63 €</a:t>
                      </a:r>
                      <a:endParaRPr lang="fr-FR" sz="1200" b="1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+0,01 €</a:t>
                      </a:r>
                      <a:endParaRPr lang="fr-FR" sz="1200" b="1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-0,05 €</a:t>
                      </a:r>
                      <a:endParaRPr lang="fr-FR" sz="1200" b="1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34,25 €</a:t>
                      </a:r>
                      <a:endParaRPr lang="fr-FR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-0,16 €</a:t>
                      </a:r>
                      <a:endParaRPr lang="fr-FR" sz="1200" b="1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+0,32 €</a:t>
                      </a:r>
                      <a:endParaRPr lang="fr-FR" sz="1200" b="1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+0,11 €</a:t>
                      </a:r>
                      <a:endParaRPr lang="fr-FR" sz="1200" b="1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-0,01 €</a:t>
                      </a:r>
                      <a:endParaRPr lang="fr-FR" sz="1200" b="1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34,51 €</a:t>
                      </a:r>
                      <a:endParaRPr lang="fr-FR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9632475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00</a:t>
                      </a:r>
                      <a:endParaRPr lang="fr-FR" sz="1200" b="0" i="1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-1,30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1,84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0,03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-0,16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00</a:t>
                      </a:r>
                      <a:endParaRPr lang="fr-FR" sz="1200" b="0" i="1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-0,47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0,95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0,31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-0,04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01</a:t>
                      </a:r>
                      <a:endParaRPr lang="fr-FR" sz="1200" b="0" i="1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42039442"/>
                  </a:ext>
                </a:extLst>
              </a:tr>
              <a:tr h="226800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79829515"/>
                  </a:ext>
                </a:extLst>
              </a:tr>
              <a:tr h="1368000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23 juin 25 au
23 juil 25</a:t>
                      </a:r>
                      <a:endParaRPr lang="fr-FR" sz="11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Lato" panose="020F0502020204030203" pitchFamily="34" charset="0"/>
                      </a:endParaRP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7CEF1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Déflation</a:t>
                      </a:r>
                      <a:endParaRPr lang="fr-FR" sz="11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Lato" panose="020F0502020204030203" pitchFamily="34" charset="0"/>
                      </a:endParaRP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Inflation</a:t>
                      </a:r>
                      <a:endParaRPr lang="fr-FR" sz="11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Lato" panose="020F0502020204030203" pitchFamily="34" charset="0"/>
                      </a:endParaRP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Référencement</a:t>
                      </a:r>
                      <a:endParaRPr lang="fr-FR" sz="11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Lato" panose="020F0502020204030203" pitchFamily="34" charset="0"/>
                      </a:endParaRP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Déréférencement</a:t>
                      </a:r>
                      <a:endParaRPr lang="fr-FR" sz="11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Lato" panose="020F0502020204030203" pitchFamily="34" charset="0"/>
                      </a:endParaRP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24 juil 25 au
23 août 25</a:t>
                      </a:r>
                      <a:endParaRPr lang="fr-FR" sz="11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Lato" panose="020F0502020204030203" pitchFamily="34" charset="0"/>
                      </a:endParaRP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7CEF1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Déflation</a:t>
                      </a:r>
                      <a:endParaRPr lang="fr-FR" sz="11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Lato" panose="020F0502020204030203" pitchFamily="34" charset="0"/>
                      </a:endParaRP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Inflation</a:t>
                      </a:r>
                      <a:endParaRPr lang="fr-FR" sz="11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Lato" panose="020F0502020204030203" pitchFamily="34" charset="0"/>
                      </a:endParaRP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Référencement</a:t>
                      </a:r>
                      <a:endParaRPr lang="fr-FR" sz="11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Lato" panose="020F0502020204030203" pitchFamily="34" charset="0"/>
                      </a:endParaRP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Déréférencement</a:t>
                      </a:r>
                      <a:endParaRPr lang="fr-FR" sz="11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Lato" panose="020F0502020204030203" pitchFamily="34" charset="0"/>
                      </a:endParaRP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24 août 25 au
22 sept 25</a:t>
                      </a:r>
                      <a:endParaRPr lang="fr-FR" sz="11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Lato" panose="020F0502020204030203" pitchFamily="34" charset="0"/>
                      </a:endParaRP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7CEF1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6517275"/>
                  </a:ext>
                </a:extLst>
              </a:tr>
            </a:tbl>
          </a:graphicData>
        </a:graphic>
      </p:graphicFrame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D9E18BC5-CD63-EE68-5489-55019E59BCF3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D439B64-1F07-65A1-AD0E-6ED5BA81EAF1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003 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03B023EE-6074-5F81-448A-F5B1F0B8019D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dirty="0"/>
              <a:t>B. Comprendre l’évolution des prix</a:t>
            </a: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FD600083-E583-64E4-0BFB-128AD0C37F5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8BF0D57-7D2F-5C36-92C6-99C4675590E5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Comment expliquer l’évolution mensuelle des prix moyens pratiqués par Leclerc sur Bombay Bramble 70cl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2760CA04-0419-AA32-B371-44CE2B0736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43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FF1131A5-6389-A687-B71A-29E26B061E6F}"/>
              </a:ext>
            </a:extLst>
          </p:cNvPr>
          <p:cNvGrpSpPr/>
          <p:nvPr/>
        </p:nvGrpSpPr>
        <p:grpSpPr>
          <a:xfrm>
            <a:off x="898070" y="1563201"/>
            <a:ext cx="7258959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BB193DA9-6D67-B1B5-F7EA-D7ECAF0B4B30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Décomposition de l’évolution des prix au litre </a:t>
              </a:r>
              <a:r>
                <a:rPr lang="fr-FR" sz="1400" b="1" u="sng" dirty="0">
                  <a:latin typeface="Aptos" panose="020B0004020202020204" pitchFamily="34" charset="0"/>
                </a:rPr>
                <a:t>après</a:t>
              </a:r>
              <a:r>
                <a:rPr lang="fr-FR" sz="1400" b="1" dirty="0">
                  <a:latin typeface="Aptos" panose="020B0004020202020204" pitchFamily="34" charset="0"/>
                </a:rPr>
                <a:t> promotions. 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1B066295-5FD0-FF5C-F690-DF98001A584B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E1BD2404-DB09-2F89-3572-EE718F1B34D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2391" y="2561048"/>
            <a:ext cx="10507251" cy="2224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3083126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DDE25D-A117-F306-40F5-134408E4AB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BAD2E2C-BE2A-10E9-EBF8-236C637893FC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DBD9E05-D1B6-3F82-55D8-03B4C5607C78}"/>
              </a:ext>
            </a:extLst>
          </p:cNvPr>
          <p:cNvSpPr/>
          <p:nvPr/>
        </p:nvSpPr>
        <p:spPr>
          <a:xfrm>
            <a:off x="532932" y="1403928"/>
            <a:ext cx="11168066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778938B7-11BE-4828-2361-101207F2DFD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3717776"/>
              </p:ext>
            </p:extLst>
          </p:nvPr>
        </p:nvGraphicFramePr>
        <p:xfrm>
          <a:off x="898071" y="2178491"/>
          <a:ext cx="10417231" cy="400176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947021">
                  <a:extLst>
                    <a:ext uri="{9D8B030D-6E8A-4147-A177-3AD203B41FA5}">
                      <a16:colId xmlns:a16="http://schemas.microsoft.com/office/drawing/2014/main" val="4210211325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4239003844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362275851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2949818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3250347567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4281505700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280546042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2396782959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1083538864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2068261487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1760404237"/>
                    </a:ext>
                  </a:extLst>
                </a:gridCol>
              </a:tblGrid>
              <a:tr h="18000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9632475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0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0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0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42039442"/>
                  </a:ext>
                </a:extLst>
              </a:tr>
              <a:tr h="226800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79829515"/>
                  </a:ext>
                </a:extLst>
              </a:tr>
              <a:tr h="1368000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26 mai 25 – </a:t>
                      </a:r>
                    </a:p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25 juin 25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7CEF1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Déflation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Inflation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Référencement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Déréférencement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26 juin 25 – </a:t>
                      </a:r>
                    </a:p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26 </a:t>
                      </a:r>
                      <a:r>
                        <a:rPr lang="fr-FR" sz="1100" b="1" i="0" u="none" strike="noStrike" dirty="0" err="1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juil</a:t>
                      </a: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 25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7CEF1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Déflation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Inflation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Référencement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Déréférencement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27 </a:t>
                      </a:r>
                      <a:r>
                        <a:rPr lang="fr-FR" sz="1100" b="1" i="0" u="none" strike="noStrike" dirty="0" err="1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juil</a:t>
                      </a: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 25 – </a:t>
                      </a:r>
                    </a:p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25 août 25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7CEF1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6517275"/>
                  </a:ext>
                </a:extLst>
              </a:tr>
            </a:tbl>
          </a:graphicData>
        </a:graphic>
      </p:graphicFrame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D9E18BC5-CD63-EE68-5489-55019E59BCF3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D439B64-1F07-65A1-AD0E-6ED5BA81EAF1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003 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03B023EE-6074-5F81-448A-F5B1F0B8019D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dirty="0"/>
              <a:t>B. Comprendre l’évolution des prix</a:t>
            </a: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FD600083-E583-64E4-0BFB-128AD0C37F5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8BF0D57-7D2F-5C36-92C6-99C4675590E5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Comment expliquer l’évolution mensuelle des prix moyens pratiqués par Leclerc sur Bombay Sapphire Sunset 70cl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2760CA04-0419-AA32-B371-44CE2B0736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44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FF1131A5-6389-A687-B71A-29E26B061E6F}"/>
              </a:ext>
            </a:extLst>
          </p:cNvPr>
          <p:cNvGrpSpPr/>
          <p:nvPr/>
        </p:nvGrpSpPr>
        <p:grpSpPr>
          <a:xfrm>
            <a:off x="898070" y="1563201"/>
            <a:ext cx="7258959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BB193DA9-6D67-B1B5-F7EA-D7ECAF0B4B30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Décomposition de l’évolution des prix au litre </a:t>
              </a:r>
              <a:r>
                <a:rPr lang="fr-FR" sz="1400" b="1" u="sng" dirty="0">
                  <a:latin typeface="Aptos" panose="020B0004020202020204" pitchFamily="34" charset="0"/>
                </a:rPr>
                <a:t>après</a:t>
              </a:r>
              <a:r>
                <a:rPr lang="fr-FR" sz="1400" b="1" dirty="0">
                  <a:latin typeface="Aptos" panose="020B0004020202020204" pitchFamily="34" charset="0"/>
                </a:rPr>
                <a:t> promotions. 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1B066295-5FD0-FF5C-F690-DF98001A584B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20152659-AA43-FC2C-4697-8DB4D43A4F2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2391" y="2561048"/>
            <a:ext cx="10507251" cy="2224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8568643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DDE25D-A117-F306-40F5-134408E4AB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BAD2E2C-BE2A-10E9-EBF8-236C637893FC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DBD9E05-D1B6-3F82-55D8-03B4C5607C78}"/>
              </a:ext>
            </a:extLst>
          </p:cNvPr>
          <p:cNvSpPr/>
          <p:nvPr/>
        </p:nvSpPr>
        <p:spPr>
          <a:xfrm>
            <a:off x="532932" y="1403928"/>
            <a:ext cx="11168066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778938B7-11BE-4828-2361-101207F2DFD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3717776"/>
              </p:ext>
            </p:extLst>
          </p:nvPr>
        </p:nvGraphicFramePr>
        <p:xfrm>
          <a:off x="898071" y="2178491"/>
          <a:ext cx="10417231" cy="400176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947021">
                  <a:extLst>
                    <a:ext uri="{9D8B030D-6E8A-4147-A177-3AD203B41FA5}">
                      <a16:colId xmlns:a16="http://schemas.microsoft.com/office/drawing/2014/main" val="4210211325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4239003844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362275851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2949818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3250347567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4281505700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280546042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2396782959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1083538864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2068261487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1760404237"/>
                    </a:ext>
                  </a:extLst>
                </a:gridCol>
              </a:tblGrid>
              <a:tr h="18000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9632475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0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0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0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42039442"/>
                  </a:ext>
                </a:extLst>
              </a:tr>
              <a:tr h="226800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79829515"/>
                  </a:ext>
                </a:extLst>
              </a:tr>
              <a:tr h="1368000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26 mai 25 – </a:t>
                      </a:r>
                    </a:p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25 juin 25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7CEF1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Déflation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Inflation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Référencement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Déréférencement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26 juin 25 – </a:t>
                      </a:r>
                    </a:p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26 </a:t>
                      </a:r>
                      <a:r>
                        <a:rPr lang="fr-FR" sz="1100" b="1" i="0" u="none" strike="noStrike" dirty="0" err="1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juil</a:t>
                      </a: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 25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7CEF1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Déflation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Inflation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Référencement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Déréférencement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27 </a:t>
                      </a:r>
                      <a:r>
                        <a:rPr lang="fr-FR" sz="1100" b="1" i="0" u="none" strike="noStrike" dirty="0" err="1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juil</a:t>
                      </a: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 25 – </a:t>
                      </a:r>
                    </a:p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25 août 25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7CEF1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6517275"/>
                  </a:ext>
                </a:extLst>
              </a:tr>
            </a:tbl>
          </a:graphicData>
        </a:graphic>
      </p:graphicFrame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D9E18BC5-CD63-EE68-5489-55019E59BCF3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D439B64-1F07-65A1-AD0E-6ED5BA81EAF1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003 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03B023EE-6074-5F81-448A-F5B1F0B8019D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dirty="0"/>
              <a:t>B. Comprendre l’évolution des prix</a:t>
            </a: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FD600083-E583-64E4-0BFB-128AD0C37F5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8BF0D57-7D2F-5C36-92C6-99C4675590E5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Comment expliquer l’évolution mensuelle des prix moyens pratiqués par Leclerc sur Bombay Citron Pressé 70cl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2760CA04-0419-AA32-B371-44CE2B0736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45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FF1131A5-6389-A687-B71A-29E26B061E6F}"/>
              </a:ext>
            </a:extLst>
          </p:cNvPr>
          <p:cNvGrpSpPr/>
          <p:nvPr/>
        </p:nvGrpSpPr>
        <p:grpSpPr>
          <a:xfrm>
            <a:off x="898070" y="1563201"/>
            <a:ext cx="7258959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BB193DA9-6D67-B1B5-F7EA-D7ECAF0B4B30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Décomposition de l’évolution des prix au litre </a:t>
              </a:r>
              <a:r>
                <a:rPr lang="fr-FR" sz="1400" b="1" u="sng" dirty="0">
                  <a:latin typeface="Aptos" panose="020B0004020202020204" pitchFamily="34" charset="0"/>
                </a:rPr>
                <a:t>après</a:t>
              </a:r>
              <a:r>
                <a:rPr lang="fr-FR" sz="1400" b="1" dirty="0">
                  <a:latin typeface="Aptos" panose="020B0004020202020204" pitchFamily="34" charset="0"/>
                </a:rPr>
                <a:t> promotions. 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1B066295-5FD0-FF5C-F690-DF98001A584B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4A55B85D-EE21-01CE-95BD-2CAD5B612FC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2391" y="2561048"/>
            <a:ext cx="10507251" cy="2224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5105997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DDE25D-A117-F306-40F5-134408E4AB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BAD2E2C-BE2A-10E9-EBF8-236C637893FC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DBD9E05-D1B6-3F82-55D8-03B4C5607C78}"/>
              </a:ext>
            </a:extLst>
          </p:cNvPr>
          <p:cNvSpPr/>
          <p:nvPr/>
        </p:nvSpPr>
        <p:spPr>
          <a:xfrm>
            <a:off x="532932" y="1403928"/>
            <a:ext cx="11168066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778938B7-11BE-4828-2361-101207F2DFD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3717776"/>
              </p:ext>
            </p:extLst>
          </p:nvPr>
        </p:nvGraphicFramePr>
        <p:xfrm>
          <a:off x="898071" y="2178491"/>
          <a:ext cx="10417231" cy="400176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947021">
                  <a:extLst>
                    <a:ext uri="{9D8B030D-6E8A-4147-A177-3AD203B41FA5}">
                      <a16:colId xmlns:a16="http://schemas.microsoft.com/office/drawing/2014/main" val="4210211325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4239003844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362275851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2949818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3250347567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4281505700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280546042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2396782959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1083538864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2068261487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1760404237"/>
                    </a:ext>
                  </a:extLst>
                </a:gridCol>
              </a:tblGrid>
              <a:tr h="18000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9632475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0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0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0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42039442"/>
                  </a:ext>
                </a:extLst>
              </a:tr>
              <a:tr h="226800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79829515"/>
                  </a:ext>
                </a:extLst>
              </a:tr>
              <a:tr h="1368000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26 mai 25 – </a:t>
                      </a:r>
                    </a:p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25 juin 25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7CEF1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Déflation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Inflation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Référencement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Déréférencement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26 juin 25 – </a:t>
                      </a:r>
                    </a:p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26 </a:t>
                      </a:r>
                      <a:r>
                        <a:rPr lang="fr-FR" sz="1100" b="1" i="0" u="none" strike="noStrike" dirty="0" err="1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juil</a:t>
                      </a: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 25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7CEF1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Déflation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Inflation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Référencement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Déréférencement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27 </a:t>
                      </a:r>
                      <a:r>
                        <a:rPr lang="fr-FR" sz="1100" b="1" i="0" u="none" strike="noStrike" dirty="0" err="1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juil</a:t>
                      </a: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 25 – </a:t>
                      </a:r>
                    </a:p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25 août 25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7CEF1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6517275"/>
                  </a:ext>
                </a:extLst>
              </a:tr>
            </a:tbl>
          </a:graphicData>
        </a:graphic>
      </p:graphicFrame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D9E18BC5-CD63-EE68-5489-55019E59BCF3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D439B64-1F07-65A1-AD0E-6ED5BA81EAF1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003 [@SUPR@]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03B023EE-6074-5F81-448A-F5B1F0B8019D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dirty="0"/>
              <a:t>B. Comprendre l’évolution des prix</a:t>
            </a: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FD600083-E583-64E4-0BFB-128AD0C37F5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8BF0D57-7D2F-5C36-92C6-99C4675590E5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Comment expliquer l’évolution mensuelle des prix moyens pratiqués par Leclerc sur Gin Bombay Sapphire East 70cl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2760CA04-0419-AA32-B371-44CE2B0736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46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FF1131A5-6389-A687-B71A-29E26B061E6F}"/>
              </a:ext>
            </a:extLst>
          </p:cNvPr>
          <p:cNvGrpSpPr/>
          <p:nvPr/>
        </p:nvGrpSpPr>
        <p:grpSpPr>
          <a:xfrm>
            <a:off x="898070" y="1563201"/>
            <a:ext cx="7258959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BB193DA9-6D67-B1B5-F7EA-D7ECAF0B4B30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Décomposition de l’évolution des prix au litre </a:t>
              </a:r>
              <a:r>
                <a:rPr lang="fr-FR" sz="1400" b="1" u="sng" dirty="0">
                  <a:latin typeface="Aptos" panose="020B0004020202020204" pitchFamily="34" charset="0"/>
                </a:rPr>
                <a:t>après</a:t>
              </a:r>
              <a:r>
                <a:rPr lang="fr-FR" sz="1400" b="1" dirty="0">
                  <a:latin typeface="Aptos" panose="020B0004020202020204" pitchFamily="34" charset="0"/>
                </a:rPr>
                <a:t> promotions. 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1B066295-5FD0-FF5C-F690-DF98001A584B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1A28B642-E671-4281-4B08-1B41496EC9D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2391" y="2561048"/>
            <a:ext cx="10507251" cy="2224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5701454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DDE25D-A117-F306-40F5-134408E4AB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BAD2E2C-BE2A-10E9-EBF8-236C637893FC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DBD9E05-D1B6-3F82-55D8-03B4C5607C78}"/>
              </a:ext>
            </a:extLst>
          </p:cNvPr>
          <p:cNvSpPr/>
          <p:nvPr/>
        </p:nvSpPr>
        <p:spPr>
          <a:xfrm>
            <a:off x="532932" y="1403928"/>
            <a:ext cx="11168066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778938B7-11BE-4828-2361-101207F2DFD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3717776"/>
              </p:ext>
            </p:extLst>
          </p:nvPr>
        </p:nvGraphicFramePr>
        <p:xfrm>
          <a:off x="898071" y="2178491"/>
          <a:ext cx="10417231" cy="400176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947021">
                  <a:extLst>
                    <a:ext uri="{9D8B030D-6E8A-4147-A177-3AD203B41FA5}">
                      <a16:colId xmlns:a16="http://schemas.microsoft.com/office/drawing/2014/main" val="4210211325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4239003844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362275851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2949818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3250347567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4281505700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280546042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2396782959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1083538864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2068261487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1760404237"/>
                    </a:ext>
                  </a:extLst>
                </a:gridCol>
              </a:tblGrid>
              <a:tr h="18000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9632475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0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0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0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42039442"/>
                  </a:ext>
                </a:extLst>
              </a:tr>
              <a:tr h="226800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79829515"/>
                  </a:ext>
                </a:extLst>
              </a:tr>
              <a:tr h="1368000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26 mai 25 – </a:t>
                      </a:r>
                    </a:p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25 juin 25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7CEF1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Déflation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Inflation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Référencement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Déréférencement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26 juin 25 – </a:t>
                      </a:r>
                    </a:p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26 </a:t>
                      </a:r>
                      <a:r>
                        <a:rPr lang="fr-FR" sz="1100" b="1" i="0" u="none" strike="noStrike" dirty="0" err="1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juil</a:t>
                      </a: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 25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7CEF1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Déflation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Inflation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Référencement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Déréférencement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27 </a:t>
                      </a:r>
                      <a:r>
                        <a:rPr lang="fr-FR" sz="1100" b="1" i="0" u="none" strike="noStrike" dirty="0" err="1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juil</a:t>
                      </a: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 25 – </a:t>
                      </a:r>
                    </a:p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25 août 25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7CEF1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6517275"/>
                  </a:ext>
                </a:extLst>
              </a:tr>
            </a:tbl>
          </a:graphicData>
        </a:graphic>
      </p:graphicFrame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D9E18BC5-CD63-EE68-5489-55019E59BCF3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D439B64-1F07-65A1-AD0E-6ED5BA81EAF1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003 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03B023EE-6074-5F81-448A-F5B1F0B8019D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dirty="0"/>
              <a:t>B. Comprendre l’évolution des prix</a:t>
            </a: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FD600083-E583-64E4-0BFB-128AD0C37F5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8BF0D57-7D2F-5C36-92C6-99C4675590E5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Comment expliquer l’évolution mensuelle des prix moyens pratiqués par Leclerc sur Gin Bombay Sapphire 70cl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2760CA04-0419-AA32-B371-44CE2B0736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47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FF1131A5-6389-A687-B71A-29E26B061E6F}"/>
              </a:ext>
            </a:extLst>
          </p:cNvPr>
          <p:cNvGrpSpPr/>
          <p:nvPr/>
        </p:nvGrpSpPr>
        <p:grpSpPr>
          <a:xfrm>
            <a:off x="898070" y="1563201"/>
            <a:ext cx="7258959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BB193DA9-6D67-B1B5-F7EA-D7ECAF0B4B30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Décomposition de l’évolution des prix au litre </a:t>
              </a:r>
              <a:r>
                <a:rPr lang="fr-FR" sz="1400" b="1" u="sng" dirty="0">
                  <a:latin typeface="Aptos" panose="020B0004020202020204" pitchFamily="34" charset="0"/>
                </a:rPr>
                <a:t>après</a:t>
              </a:r>
              <a:r>
                <a:rPr lang="fr-FR" sz="1400" b="1" dirty="0">
                  <a:latin typeface="Aptos" panose="020B0004020202020204" pitchFamily="34" charset="0"/>
                </a:rPr>
                <a:t> promotions. 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1B066295-5FD0-FF5C-F690-DF98001A584B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4A5E7958-2977-D724-20B2-DAFA3B1C38F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2391" y="2561048"/>
            <a:ext cx="10507251" cy="2224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8759211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2B9796A-F6D5-23D6-1878-F945819323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54722F9-9E10-8825-7DA3-C4E1AF6162CD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C4B6DF8-56A0-9645-0B65-C2228163113B}"/>
              </a:ext>
            </a:extLst>
          </p:cNvPr>
          <p:cNvSpPr/>
          <p:nvPr/>
        </p:nvSpPr>
        <p:spPr>
          <a:xfrm>
            <a:off x="532932" y="1403928"/>
            <a:ext cx="8077668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97A13F2B-8979-600A-FAC3-593C518C4667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3BB8C27-449A-C39A-E29E-B67B2A654899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002 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A66EE53B-A60F-C4D9-23A5-01754DA87521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dirty="0"/>
              <a:t>B. Comprendre l’évolution des prix</a:t>
            </a: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E953B5C9-E3B1-51C5-7E55-B9A59DC4A35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6C744231-38EB-12F7-D0F8-6FD02C666B47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Comment ont évolué les prix des produits de la gamme Bombay chez Leclerc entre 23 juin 2025 et 22 sept 2025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4C3B8A24-D72D-746C-4D23-202DC3A41D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48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5640B0C6-8134-07A9-FF30-DD3B83C8E6A7}"/>
              </a:ext>
            </a:extLst>
          </p:cNvPr>
          <p:cNvGrpSpPr/>
          <p:nvPr/>
        </p:nvGrpSpPr>
        <p:grpSpPr>
          <a:xfrm>
            <a:off x="898070" y="1563201"/>
            <a:ext cx="7055759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8ED99838-D2A9-9E3F-1283-6806F9B921CE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Évolution des prix moyens par litre avant promotion par produit de la marque Bombay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EDD9063A-DE32-9068-B018-DB6D24626BDD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pic>
        <p:nvPicPr>
          <p:cNvPr id="9" name="Picture 8">
            <a:extLst>
              <a:ext uri="{FF2B5EF4-FFF2-40B4-BE49-F238E27FC236}">
                <a16:creationId xmlns:a16="http://schemas.microsoft.com/office/drawing/2014/main" id="{D5D15560-68E0-FBCC-151E-3A26925099F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9837" y="2175676"/>
            <a:ext cx="11197527" cy="4189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4805861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0520D6-8B3A-95F1-183F-1E7F436110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58C2897-57AF-19A6-CDDD-1C4624F1DBDF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12" name="Picture 11" descr="A white tag with holes on it&#10;&#10;AI-generated content may be incorrect.">
            <a:extLst>
              <a:ext uri="{FF2B5EF4-FFF2-40B4-BE49-F238E27FC236}">
                <a16:creationId xmlns:a16="http://schemas.microsoft.com/office/drawing/2014/main" id="{EB50465D-E4FB-6E68-03B7-DF77B75E63C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60" r="55820"/>
          <a:stretch>
            <a:fillRect/>
          </a:stretch>
        </p:blipFill>
        <p:spPr>
          <a:xfrm>
            <a:off x="8962117" y="1403928"/>
            <a:ext cx="3229883" cy="498032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41383717-7649-0BC1-520A-D360B501117A}"/>
              </a:ext>
            </a:extLst>
          </p:cNvPr>
          <p:cNvSpPr/>
          <p:nvPr/>
        </p:nvSpPr>
        <p:spPr>
          <a:xfrm>
            <a:off x="8962116" y="1398861"/>
            <a:ext cx="3229884" cy="4990456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fr-FR" sz="1600" b="1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DF5BC53-3A01-A6C1-3642-46D015EA8652}"/>
              </a:ext>
            </a:extLst>
          </p:cNvPr>
          <p:cNvSpPr/>
          <p:nvPr/>
        </p:nvSpPr>
        <p:spPr>
          <a:xfrm>
            <a:off x="532932" y="1403928"/>
            <a:ext cx="842918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3F27DDEF-FC98-6DCD-1417-4F7EE0B903A5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6EFE523-AFD3-9E8A-CC8C-7CC1F48D8941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004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CA59A078-F196-D690-AECA-C61A5B46D8EA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dirty="0"/>
              <a:t>B. Comprendre l’évolution des prix</a:t>
            </a: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8C2C4C62-F6A5-7E03-11D0-5CD4ADEC372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B0A9110A-0E29-75B5-FE5B-449502B54ABD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le est la part des magasins Leclerc ayant modifié le prix des produits Bombay entre 23 juin 2025 et 22 sept 2025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5E4E9E35-54EE-4E9A-AF7D-5BCFE2F887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49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CC8EC74C-F475-7867-94ED-D1844F5FF132}"/>
              </a:ext>
            </a:extLst>
          </p:cNvPr>
          <p:cNvGrpSpPr/>
          <p:nvPr/>
        </p:nvGrpSpPr>
        <p:grpSpPr>
          <a:xfrm>
            <a:off x="898070" y="1563201"/>
            <a:ext cx="7258959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AC7B4B49-3405-88B3-AA75-B6A8D47474DD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Part des magasins distribuant Bombay ayant modifié  le prix de vente avant promotion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8383DD69-2E61-9D15-6A5C-9EDEC53908DC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id="{5697C293-B3E1-CB6D-3774-3A3FDADBDCDE}"/>
              </a:ext>
            </a:extLst>
          </p:cNvPr>
          <p:cNvSpPr/>
          <p:nvPr/>
        </p:nvSpPr>
        <p:spPr>
          <a:xfrm>
            <a:off x="9338718" y="2162272"/>
            <a:ext cx="2733308" cy="403030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fr-FR" sz="1400" b="1" dirty="0">
                <a:solidFill>
                  <a:schemeClr val="bg1"/>
                </a:solidFill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bg1"/>
                </a:solidFill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bg1"/>
                </a:solidFill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bg1"/>
                </a:solidFill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sz="1400" dirty="0">
              <a:solidFill>
                <a:schemeClr val="bg1"/>
              </a:solidFill>
            </a:endParaRPr>
          </a:p>
          <a:p>
            <a:r>
              <a:rPr lang="fr-FR" sz="1400" b="1" dirty="0">
                <a:solidFill>
                  <a:schemeClr val="bg1"/>
                </a:solidFill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bg1"/>
                </a:solidFill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bg1"/>
                </a:solidFill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bg1"/>
                </a:solidFill>
              </a:rPr>
              <a:t>XXX</a:t>
            </a:r>
          </a:p>
          <a:p>
            <a:endParaRPr lang="fr-FR" sz="1400" dirty="0">
              <a:solidFill>
                <a:schemeClr val="bg1"/>
              </a:solidFill>
            </a:endParaRPr>
          </a:p>
          <a:p>
            <a:endParaRPr lang="fr-FR" sz="1400" dirty="0">
              <a:solidFill>
                <a:schemeClr val="bg1"/>
              </a:solidFill>
            </a:endParaRPr>
          </a:p>
          <a:p>
            <a:r>
              <a:rPr lang="fr-FR" sz="1400" b="1" dirty="0">
                <a:solidFill>
                  <a:schemeClr val="bg1"/>
                </a:solidFill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bg1"/>
                </a:solidFill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bg1"/>
                </a:solidFill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bg1"/>
                </a:solidFill>
              </a:rPr>
              <a:t>XXX</a:t>
            </a:r>
          </a:p>
          <a:p>
            <a:endParaRPr lang="fr-FR" sz="1400" b="1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F3BD82A-A045-E8B2-577C-380ECA9A1E90}"/>
              </a:ext>
            </a:extLst>
          </p:cNvPr>
          <p:cNvSpPr txBox="1"/>
          <p:nvPr/>
        </p:nvSpPr>
        <p:spPr>
          <a:xfrm>
            <a:off x="9338719" y="1563201"/>
            <a:ext cx="2733308" cy="525401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 dirty="0">
                <a:solidFill>
                  <a:schemeClr val="bg1"/>
                </a:solidFill>
                <a:latin typeface="Aptos" panose="020B0004020202020204" pitchFamily="34" charset="0"/>
              </a:rPr>
              <a:t>Commentaires</a:t>
            </a:r>
          </a:p>
          <a:p>
            <a:endParaRPr lang="fr-FR" sz="1400" dirty="0">
              <a:solidFill>
                <a:schemeClr val="bg1"/>
              </a:solidFill>
              <a:latin typeface="Aptos" panose="020B0004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370EB17-81F9-30A6-ABC4-3D61F79BD10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05089" y="2175677"/>
            <a:ext cx="7804573" cy="40173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52073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A101F5-B710-1B4D-4188-8E495AF8FB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A5B0B0FD-14A4-F107-CA84-4F5EFF1E5B94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i="1" dirty="0">
                <a:latin typeface="Aptos" panose="020B0004020202020204" pitchFamily="34" charset="0"/>
              </a:rPr>
              <a:t>Ambitions stratégiques</a:t>
            </a:r>
            <a:endParaRPr lang="fr-FR" sz="2800" b="1" dirty="0">
              <a:latin typeface="Aptos Black" panose="020B0004020202020204" pitchFamily="34" charset="0"/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A2D76675-6694-75B3-F271-A8263EE8F6DE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51FD01EB-EB65-614E-65FD-CAEA00041EF9}"/>
              </a:ext>
            </a:extLst>
          </p:cNvPr>
          <p:cNvSpPr txBox="1"/>
          <p:nvPr/>
        </p:nvSpPr>
        <p:spPr>
          <a:xfrm>
            <a:off x="898070" y="491349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Pour atteindre son objectif de XXX, Bombay devra faire A, B et C avant DATE.</a:t>
            </a:r>
            <a:endParaRPr lang="fr-FR" sz="2800" b="1" dirty="0">
              <a:latin typeface="Aptos Black" panose="020B00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2196200-6905-308B-705A-0C987D6A94F5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r>
              <a:rPr lang="fr-FR" sz="1100" dirty="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" name="Isosceles Triangle 7">
            <a:extLst>
              <a:ext uri="{FF2B5EF4-FFF2-40B4-BE49-F238E27FC236}">
                <a16:creationId xmlns:a16="http://schemas.microsoft.com/office/drawing/2014/main" id="{79D7A361-7476-F77E-5AE8-700C7D566110}"/>
              </a:ext>
            </a:extLst>
          </p:cNvPr>
          <p:cNvSpPr/>
          <p:nvPr/>
        </p:nvSpPr>
        <p:spPr>
          <a:xfrm>
            <a:off x="5606553" y="1420307"/>
            <a:ext cx="5709147" cy="919124"/>
          </a:xfrm>
          <a:prstGeom prst="triangle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/>
              <a:t>Objectifs &amp; ambitions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FBEAF111-ECA4-459D-C964-12FD71112B57}"/>
              </a:ext>
            </a:extLst>
          </p:cNvPr>
          <p:cNvGrpSpPr/>
          <p:nvPr/>
        </p:nvGrpSpPr>
        <p:grpSpPr>
          <a:xfrm>
            <a:off x="5606551" y="2517054"/>
            <a:ext cx="5709148" cy="980290"/>
            <a:chOff x="759835" y="2560807"/>
            <a:chExt cx="3136567" cy="914400"/>
          </a:xfrm>
          <a:solidFill>
            <a:schemeClr val="bg2">
              <a:lumMod val="50000"/>
            </a:schemeClr>
          </a:solidFill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317C37E5-F9E4-B84A-6E4F-04D78F21375D}"/>
                </a:ext>
              </a:extLst>
            </p:cNvPr>
            <p:cNvSpPr/>
            <p:nvPr/>
          </p:nvSpPr>
          <p:spPr>
            <a:xfrm>
              <a:off x="759835" y="2560807"/>
              <a:ext cx="996039" cy="9144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b="1" dirty="0"/>
                <a:t>Bataille n°1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0659E3E8-A789-7B58-A7FF-820E319431D2}"/>
                </a:ext>
              </a:extLst>
            </p:cNvPr>
            <p:cNvSpPr/>
            <p:nvPr/>
          </p:nvSpPr>
          <p:spPr>
            <a:xfrm>
              <a:off x="1830099" y="2560807"/>
              <a:ext cx="996039" cy="9144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b="1" dirty="0"/>
                <a:t>Bataille n°2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63544BD6-1E82-0290-BD60-728FC89764BE}"/>
                </a:ext>
              </a:extLst>
            </p:cNvPr>
            <p:cNvSpPr/>
            <p:nvPr/>
          </p:nvSpPr>
          <p:spPr>
            <a:xfrm>
              <a:off x="2900363" y="2560807"/>
              <a:ext cx="996039" cy="9144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b="1" dirty="0"/>
                <a:t>Bataille n°3</a:t>
              </a: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BA178632-111D-94B2-DAB1-07D8D747E220}"/>
              </a:ext>
            </a:extLst>
          </p:cNvPr>
          <p:cNvGrpSpPr/>
          <p:nvPr/>
        </p:nvGrpSpPr>
        <p:grpSpPr>
          <a:xfrm>
            <a:off x="5606552" y="3674968"/>
            <a:ext cx="5709148" cy="980290"/>
            <a:chOff x="759835" y="3610289"/>
            <a:chExt cx="5589010" cy="914400"/>
          </a:xfrm>
          <a:solidFill>
            <a:schemeClr val="bg2">
              <a:lumMod val="75000"/>
            </a:schemeClr>
          </a:solidFill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AFB913D9-EB3F-8B1A-651D-FD622ED028EF}"/>
                </a:ext>
              </a:extLst>
            </p:cNvPr>
            <p:cNvSpPr/>
            <p:nvPr/>
          </p:nvSpPr>
          <p:spPr>
            <a:xfrm>
              <a:off x="759835" y="3610289"/>
              <a:ext cx="1321394" cy="9144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b="1" dirty="0">
                  <a:solidFill>
                    <a:schemeClr val="bg1"/>
                  </a:solidFill>
                </a:rPr>
                <a:t>Initiative n°1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5CAC92CC-6FEB-49AB-C7CF-C5AFA383D6F3}"/>
                </a:ext>
              </a:extLst>
            </p:cNvPr>
            <p:cNvSpPr/>
            <p:nvPr/>
          </p:nvSpPr>
          <p:spPr>
            <a:xfrm>
              <a:off x="2182374" y="3610289"/>
              <a:ext cx="1321394" cy="9144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b="1" dirty="0">
                  <a:solidFill>
                    <a:schemeClr val="bg1"/>
                  </a:solidFill>
                </a:rPr>
                <a:t>Initiative n°2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B92D0ACC-B673-A9FF-4F7A-11BE636C5A39}"/>
                </a:ext>
              </a:extLst>
            </p:cNvPr>
            <p:cNvSpPr/>
            <p:nvPr/>
          </p:nvSpPr>
          <p:spPr>
            <a:xfrm>
              <a:off x="3604913" y="3610289"/>
              <a:ext cx="1321394" cy="9144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b="1" dirty="0">
                  <a:solidFill>
                    <a:schemeClr val="bg1"/>
                  </a:solidFill>
                </a:rPr>
                <a:t>Initiative n°3</a:t>
              </a: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A5FB6524-6041-183B-A588-EA43EE2B3570}"/>
                </a:ext>
              </a:extLst>
            </p:cNvPr>
            <p:cNvSpPr/>
            <p:nvPr/>
          </p:nvSpPr>
          <p:spPr>
            <a:xfrm>
              <a:off x="5027451" y="3610289"/>
              <a:ext cx="1321394" cy="9144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b="1" dirty="0">
                  <a:solidFill>
                    <a:schemeClr val="bg1"/>
                  </a:solidFill>
                </a:rPr>
                <a:t>Initiative n°4</a:t>
              </a: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5654421A-C85C-A8B6-210C-A8C8C452100F}"/>
              </a:ext>
            </a:extLst>
          </p:cNvPr>
          <p:cNvGrpSpPr/>
          <p:nvPr/>
        </p:nvGrpSpPr>
        <p:grpSpPr>
          <a:xfrm>
            <a:off x="5606551" y="4832881"/>
            <a:ext cx="5709146" cy="1483998"/>
            <a:chOff x="759834" y="4632086"/>
            <a:chExt cx="5589008" cy="1384251"/>
          </a:xfrm>
          <a:solidFill>
            <a:schemeClr val="bg2">
              <a:lumMod val="90000"/>
            </a:schemeClr>
          </a:solidFill>
        </p:grpSpPr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9E4A3584-CA0E-F578-20A2-605628D34AF9}"/>
                </a:ext>
              </a:extLst>
            </p:cNvPr>
            <p:cNvSpPr/>
            <p:nvPr/>
          </p:nvSpPr>
          <p:spPr>
            <a:xfrm>
              <a:off x="759834" y="4632086"/>
              <a:ext cx="5589008" cy="29320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b="1" dirty="0">
                  <a:solidFill>
                    <a:schemeClr val="bg2">
                      <a:lumMod val="25000"/>
                    </a:schemeClr>
                  </a:solidFill>
                </a:rPr>
                <a:t>Ressources humaines</a:t>
              </a: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D0571A87-AB39-2A31-F24B-30A8A54508D0}"/>
                </a:ext>
              </a:extLst>
            </p:cNvPr>
            <p:cNvSpPr/>
            <p:nvPr/>
          </p:nvSpPr>
          <p:spPr>
            <a:xfrm>
              <a:off x="759834" y="4995768"/>
              <a:ext cx="5589008" cy="29320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b="1" dirty="0">
                  <a:solidFill>
                    <a:schemeClr val="bg2">
                      <a:lumMod val="25000"/>
                    </a:schemeClr>
                  </a:solidFill>
                </a:rPr>
                <a:t>Ressources matérielles</a:t>
              </a: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60030404-BB97-6997-E5D2-6A6D3C5707D0}"/>
                </a:ext>
              </a:extLst>
            </p:cNvPr>
            <p:cNvSpPr/>
            <p:nvPr/>
          </p:nvSpPr>
          <p:spPr>
            <a:xfrm>
              <a:off x="759834" y="5359450"/>
              <a:ext cx="5589008" cy="29320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b="1" dirty="0">
                  <a:solidFill>
                    <a:schemeClr val="bg2">
                      <a:lumMod val="25000"/>
                    </a:schemeClr>
                  </a:solidFill>
                </a:rPr>
                <a:t>Données / infrastructures data</a:t>
              </a: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EE9536B3-CFF3-8F6D-11C7-184B8558BAF7}"/>
                </a:ext>
              </a:extLst>
            </p:cNvPr>
            <p:cNvSpPr/>
            <p:nvPr/>
          </p:nvSpPr>
          <p:spPr>
            <a:xfrm>
              <a:off x="759834" y="5723132"/>
              <a:ext cx="5589008" cy="29320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b="1" dirty="0">
                  <a:solidFill>
                    <a:schemeClr val="bg2">
                      <a:lumMod val="25000"/>
                    </a:schemeClr>
                  </a:solidFill>
                </a:rPr>
                <a:t>Etc.</a:t>
              </a:r>
            </a:p>
          </p:txBody>
        </p:sp>
      </p:grp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C9490DC1-26CE-D892-8281-980A25343591}"/>
              </a:ext>
            </a:extLst>
          </p:cNvPr>
          <p:cNvCxnSpPr/>
          <p:nvPr/>
        </p:nvCxnSpPr>
        <p:spPr>
          <a:xfrm>
            <a:off x="532932" y="2428243"/>
            <a:ext cx="10782768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5BA06C4B-9A69-DB36-FF1A-5E2089FD612F}"/>
              </a:ext>
            </a:extLst>
          </p:cNvPr>
          <p:cNvCxnSpPr/>
          <p:nvPr/>
        </p:nvCxnSpPr>
        <p:spPr>
          <a:xfrm>
            <a:off x="532932" y="3586156"/>
            <a:ext cx="10782768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5AD4BDB6-4C24-2E7C-CAA8-71C68CE0D09E}"/>
              </a:ext>
            </a:extLst>
          </p:cNvPr>
          <p:cNvCxnSpPr/>
          <p:nvPr/>
        </p:nvCxnSpPr>
        <p:spPr>
          <a:xfrm>
            <a:off x="532932" y="4744070"/>
            <a:ext cx="10782768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175409CE-07D5-2663-6DEE-6DA69ACAE0B5}"/>
              </a:ext>
            </a:extLst>
          </p:cNvPr>
          <p:cNvCxnSpPr>
            <a:cxnSpLocks/>
          </p:cNvCxnSpPr>
          <p:nvPr/>
        </p:nvCxnSpPr>
        <p:spPr>
          <a:xfrm>
            <a:off x="532932" y="6405694"/>
            <a:ext cx="10782768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8" name="Oval 37">
            <a:extLst>
              <a:ext uri="{FF2B5EF4-FFF2-40B4-BE49-F238E27FC236}">
                <a16:creationId xmlns:a16="http://schemas.microsoft.com/office/drawing/2014/main" id="{7DACF430-604D-2584-B35F-C20172AFEC2A}"/>
              </a:ext>
            </a:extLst>
          </p:cNvPr>
          <p:cNvSpPr/>
          <p:nvPr/>
        </p:nvSpPr>
        <p:spPr>
          <a:xfrm>
            <a:off x="8248963" y="1259802"/>
            <a:ext cx="321008" cy="321008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>
                <a:latin typeface="Aptos Black" panose="020B0004020202020204" pitchFamily="34" charset="0"/>
              </a:rPr>
              <a:t>1</a:t>
            </a: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4171992C-4335-6DB6-34E2-C64C7165519A}"/>
              </a:ext>
            </a:extLst>
          </p:cNvPr>
          <p:cNvSpPr/>
          <p:nvPr/>
        </p:nvSpPr>
        <p:spPr>
          <a:xfrm>
            <a:off x="5446047" y="2613220"/>
            <a:ext cx="321008" cy="321008"/>
          </a:xfrm>
          <a:prstGeom prst="ellipse">
            <a:avLst/>
          </a:prstGeom>
          <a:solidFill>
            <a:srgbClr val="68689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>
                <a:latin typeface="Aptos Black" panose="020B0004020202020204" pitchFamily="34" charset="0"/>
              </a:rPr>
              <a:t>2</a:t>
            </a: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A682E87B-8B50-5E90-3051-4B1DCA7C4785}"/>
              </a:ext>
            </a:extLst>
          </p:cNvPr>
          <p:cNvSpPr/>
          <p:nvPr/>
        </p:nvSpPr>
        <p:spPr>
          <a:xfrm>
            <a:off x="5446047" y="3793822"/>
            <a:ext cx="321008" cy="321008"/>
          </a:xfrm>
          <a:prstGeom prst="ellipse">
            <a:avLst/>
          </a:prstGeom>
          <a:solidFill>
            <a:srgbClr val="AFAFC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>
                <a:solidFill>
                  <a:schemeClr val="bg1"/>
                </a:solidFill>
                <a:latin typeface="Aptos Black" panose="020B0004020202020204" pitchFamily="34" charset="0"/>
              </a:rPr>
              <a:t>3</a:t>
            </a: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64479279-71B3-BA99-782C-89099321AE04}"/>
              </a:ext>
            </a:extLst>
          </p:cNvPr>
          <p:cNvSpPr/>
          <p:nvPr/>
        </p:nvSpPr>
        <p:spPr>
          <a:xfrm>
            <a:off x="5446047" y="4818559"/>
            <a:ext cx="321008" cy="321008"/>
          </a:xfrm>
          <a:prstGeom prst="ellipse">
            <a:avLst/>
          </a:prstGeom>
          <a:solidFill>
            <a:srgbClr val="DBDBE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>
                <a:solidFill>
                  <a:schemeClr val="bg2">
                    <a:lumMod val="25000"/>
                  </a:schemeClr>
                </a:solidFill>
                <a:latin typeface="Aptos Black" panose="020B0004020202020204" pitchFamily="34" charset="0"/>
              </a:rPr>
              <a:t>4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8D322098-C562-E554-1F30-5819040FB5E6}"/>
              </a:ext>
            </a:extLst>
          </p:cNvPr>
          <p:cNvSpPr/>
          <p:nvPr/>
        </p:nvSpPr>
        <p:spPr>
          <a:xfrm>
            <a:off x="532931" y="1420307"/>
            <a:ext cx="4809797" cy="9171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fr-FR" sz="1400" b="1" dirty="0">
                <a:solidFill>
                  <a:schemeClr val="accent1"/>
                </a:solidFill>
              </a:rPr>
              <a:t>OBJECTIF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FR" sz="1400" dirty="0">
                <a:solidFill>
                  <a:schemeClr val="bg2">
                    <a:lumMod val="10000"/>
                  </a:schemeClr>
                </a:solidFill>
              </a:rPr>
              <a:t>Quels sont vos </a:t>
            </a:r>
            <a:r>
              <a:rPr lang="fr-FR" sz="1400" b="1" dirty="0">
                <a:solidFill>
                  <a:schemeClr val="bg2">
                    <a:lumMod val="10000"/>
                  </a:schemeClr>
                </a:solidFill>
              </a:rPr>
              <a:t>objectifs</a:t>
            </a:r>
            <a:r>
              <a:rPr lang="fr-FR" sz="1400" dirty="0">
                <a:solidFill>
                  <a:schemeClr val="bg2">
                    <a:lumMod val="10000"/>
                  </a:schemeClr>
                </a:solidFill>
              </a:rPr>
              <a:t> à </a:t>
            </a:r>
            <a:r>
              <a:rPr lang="fr-FR" sz="1400" b="1" dirty="0">
                <a:solidFill>
                  <a:schemeClr val="bg2">
                    <a:lumMod val="10000"/>
                  </a:schemeClr>
                </a:solidFill>
              </a:rPr>
              <a:t>court, moyen et long terme</a:t>
            </a:r>
            <a:r>
              <a:rPr lang="fr-FR" sz="1400" dirty="0">
                <a:solidFill>
                  <a:schemeClr val="bg2">
                    <a:lumMod val="10000"/>
                  </a:schemeClr>
                </a:solidFill>
              </a:rPr>
              <a:t> ?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FR" sz="1400" dirty="0">
                <a:solidFill>
                  <a:schemeClr val="bg2">
                    <a:lumMod val="10000"/>
                  </a:schemeClr>
                </a:solidFill>
              </a:rPr>
              <a:t>Quelles sont vos </a:t>
            </a:r>
            <a:r>
              <a:rPr lang="fr-FR" sz="1400" b="1" dirty="0">
                <a:solidFill>
                  <a:schemeClr val="bg2">
                    <a:lumMod val="10000"/>
                  </a:schemeClr>
                </a:solidFill>
              </a:rPr>
              <a:t>ambitions chiffrées</a:t>
            </a:r>
            <a:r>
              <a:rPr lang="fr-FR" sz="1400" dirty="0">
                <a:solidFill>
                  <a:schemeClr val="bg2">
                    <a:lumMod val="10000"/>
                  </a:schemeClr>
                </a:solidFill>
              </a:rPr>
              <a:t> ?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FR" sz="1400" b="1" dirty="0">
                <a:solidFill>
                  <a:schemeClr val="bg2">
                    <a:lumMod val="10000"/>
                  </a:schemeClr>
                </a:solidFill>
              </a:rPr>
              <a:t>Où en êtes-vous </a:t>
            </a:r>
            <a:r>
              <a:rPr lang="fr-FR" sz="1400" dirty="0">
                <a:solidFill>
                  <a:schemeClr val="bg2">
                    <a:lumMod val="10000"/>
                  </a:schemeClr>
                </a:solidFill>
              </a:rPr>
              <a:t>dans l’atteinte de ces objectifs ?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fr-FR" sz="14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3C442ABE-84F3-292E-F0FA-21E83A77DDC7}"/>
              </a:ext>
            </a:extLst>
          </p:cNvPr>
          <p:cNvSpPr/>
          <p:nvPr/>
        </p:nvSpPr>
        <p:spPr>
          <a:xfrm>
            <a:off x="532931" y="2517054"/>
            <a:ext cx="4809797" cy="9802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fr-FR" sz="1400" b="1" dirty="0">
                <a:solidFill>
                  <a:schemeClr val="accent1"/>
                </a:solidFill>
              </a:rPr>
              <a:t>CHOIX STRATÉGIQU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FR" sz="1400" b="1" dirty="0">
                <a:solidFill>
                  <a:schemeClr val="bg2">
                    <a:lumMod val="10000"/>
                  </a:schemeClr>
                </a:solidFill>
              </a:rPr>
              <a:t>Quelles</a:t>
            </a:r>
            <a:r>
              <a:rPr lang="fr-FR" sz="1400" dirty="0">
                <a:solidFill>
                  <a:schemeClr val="bg2">
                    <a:lumMod val="10000"/>
                  </a:schemeClr>
                </a:solidFill>
              </a:rPr>
              <a:t> </a:t>
            </a:r>
            <a:r>
              <a:rPr lang="fr-FR" sz="1400" b="1" dirty="0">
                <a:solidFill>
                  <a:schemeClr val="bg2">
                    <a:lumMod val="10000"/>
                  </a:schemeClr>
                </a:solidFill>
              </a:rPr>
              <a:t>batailles mener </a:t>
            </a:r>
            <a:r>
              <a:rPr lang="fr-FR" sz="1400" dirty="0">
                <a:solidFill>
                  <a:schemeClr val="bg2">
                    <a:lumMod val="10000"/>
                  </a:schemeClr>
                </a:solidFill>
              </a:rPr>
              <a:t>pour atteindre vos objectifs ?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FR" sz="1400" dirty="0">
                <a:solidFill>
                  <a:schemeClr val="bg2">
                    <a:lumMod val="10000"/>
                  </a:schemeClr>
                </a:solidFill>
              </a:rPr>
              <a:t>Quelles sont les batailles que </a:t>
            </a:r>
            <a:r>
              <a:rPr lang="fr-FR" sz="1400" b="1" dirty="0">
                <a:solidFill>
                  <a:schemeClr val="bg2">
                    <a:lumMod val="10000"/>
                  </a:schemeClr>
                </a:solidFill>
              </a:rPr>
              <a:t>vous ne souhaitez pas mener ?</a:t>
            </a:r>
          </a:p>
          <a:p>
            <a:endParaRPr lang="fr-FR" sz="1400" b="1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6EB7CB7E-8303-11F1-B4B0-7697B1D0A1AD}"/>
              </a:ext>
            </a:extLst>
          </p:cNvPr>
          <p:cNvSpPr/>
          <p:nvPr/>
        </p:nvSpPr>
        <p:spPr>
          <a:xfrm>
            <a:off x="532931" y="3674968"/>
            <a:ext cx="4809797" cy="9802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fr-FR" sz="1400" b="1" dirty="0">
                <a:solidFill>
                  <a:schemeClr val="accent1"/>
                </a:solidFill>
              </a:rPr>
              <a:t>INITIATIVES STRATÉGIQU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FR" sz="1400" b="1" dirty="0">
                <a:solidFill>
                  <a:schemeClr val="bg2">
                    <a:lumMod val="10000"/>
                  </a:schemeClr>
                </a:solidFill>
              </a:rPr>
              <a:t>Quelles initiatives </a:t>
            </a:r>
            <a:r>
              <a:rPr lang="fr-FR" sz="1400" dirty="0">
                <a:solidFill>
                  <a:schemeClr val="bg2">
                    <a:lumMod val="10000"/>
                  </a:schemeClr>
                </a:solidFill>
              </a:rPr>
              <a:t>vous mettre en place pour gagner vos batailles stratégiques ?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FR" sz="1400" dirty="0">
                <a:solidFill>
                  <a:schemeClr val="bg2">
                    <a:lumMod val="10000"/>
                  </a:schemeClr>
                </a:solidFill>
              </a:rPr>
              <a:t>Qu’avez-vous </a:t>
            </a:r>
            <a:r>
              <a:rPr lang="fr-FR" sz="1400" b="1" dirty="0">
                <a:solidFill>
                  <a:schemeClr val="bg2">
                    <a:lumMod val="10000"/>
                  </a:schemeClr>
                </a:solidFill>
              </a:rPr>
              <a:t>déjà mis en place</a:t>
            </a:r>
            <a:r>
              <a:rPr lang="fr-FR" sz="1400" dirty="0">
                <a:solidFill>
                  <a:schemeClr val="bg2">
                    <a:lumMod val="10000"/>
                  </a:schemeClr>
                </a:solidFill>
              </a:rPr>
              <a:t>, quels sont les </a:t>
            </a:r>
            <a:r>
              <a:rPr lang="fr-FR" sz="1400" b="1" dirty="0">
                <a:solidFill>
                  <a:schemeClr val="bg2">
                    <a:lumMod val="10000"/>
                  </a:schemeClr>
                </a:solidFill>
              </a:rPr>
              <a:t>résultats </a:t>
            </a:r>
            <a:r>
              <a:rPr lang="fr-FR" sz="1400" dirty="0">
                <a:solidFill>
                  <a:schemeClr val="bg2">
                    <a:lumMod val="10000"/>
                  </a:schemeClr>
                </a:solidFill>
              </a:rPr>
              <a:t>?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E7F32641-135E-044D-0FA2-5726D99CDAD3}"/>
              </a:ext>
            </a:extLst>
          </p:cNvPr>
          <p:cNvSpPr/>
          <p:nvPr/>
        </p:nvSpPr>
        <p:spPr>
          <a:xfrm>
            <a:off x="532931" y="4833874"/>
            <a:ext cx="4809797" cy="14820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fr-FR" sz="1400" b="1" dirty="0">
                <a:solidFill>
                  <a:schemeClr val="accent1"/>
                </a:solidFill>
              </a:rPr>
              <a:t>FACILITATEUR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FR" sz="1400" dirty="0">
                <a:solidFill>
                  <a:schemeClr val="bg2">
                    <a:lumMod val="10000"/>
                  </a:schemeClr>
                </a:solidFill>
              </a:rPr>
              <a:t>Quelles sont les </a:t>
            </a:r>
            <a:r>
              <a:rPr lang="fr-FR" sz="1400" b="1" dirty="0">
                <a:solidFill>
                  <a:schemeClr val="bg2">
                    <a:lumMod val="10000"/>
                  </a:schemeClr>
                </a:solidFill>
              </a:rPr>
              <a:t>ressources à votre disposition </a:t>
            </a:r>
            <a:r>
              <a:rPr lang="fr-FR" sz="1400" dirty="0">
                <a:solidFill>
                  <a:schemeClr val="bg2">
                    <a:lumMod val="10000"/>
                  </a:schemeClr>
                </a:solidFill>
              </a:rPr>
              <a:t>pour mettre en œuvre vos initiatives (humaines, matérielles, données, etc.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FR" sz="1400" dirty="0">
                <a:solidFill>
                  <a:schemeClr val="bg2">
                    <a:lumMod val="10000"/>
                  </a:schemeClr>
                </a:solidFill>
              </a:rPr>
              <a:t>Quelles sont les </a:t>
            </a:r>
            <a:r>
              <a:rPr lang="fr-FR" sz="1400" b="1" dirty="0">
                <a:solidFill>
                  <a:schemeClr val="bg2">
                    <a:lumMod val="10000"/>
                  </a:schemeClr>
                </a:solidFill>
              </a:rPr>
              <a:t>ressources manquantes </a:t>
            </a:r>
            <a:r>
              <a:rPr lang="fr-FR" sz="1400" dirty="0">
                <a:solidFill>
                  <a:schemeClr val="bg2">
                    <a:lumMod val="10000"/>
                  </a:schemeClr>
                </a:solidFill>
              </a:rPr>
              <a:t>pour atteindre vos objectifs ? A quelle échéance en aurez-vous besoin ?</a:t>
            </a:r>
          </a:p>
          <a:p>
            <a:endParaRPr lang="fr-FR" sz="1400" b="1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" name="Slide Number Placeholder 7">
            <a:extLst>
              <a:ext uri="{FF2B5EF4-FFF2-40B4-BE49-F238E27FC236}">
                <a16:creationId xmlns:a16="http://schemas.microsoft.com/office/drawing/2014/main" id="{04C3A433-F956-7104-B203-B6B2CDDC03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5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693681658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672ADE-EFDD-1092-3E29-1B11519CF5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48E45F1-08E7-4480-1D30-D5A11ABBA772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8CA66E4-9B14-CCDF-FB15-3339573D1DF9}"/>
              </a:ext>
            </a:extLst>
          </p:cNvPr>
          <p:cNvSpPr/>
          <p:nvPr/>
        </p:nvSpPr>
        <p:spPr>
          <a:xfrm>
            <a:off x="532932" y="1403928"/>
            <a:ext cx="4920866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9E803CF6-7A76-3CFF-B6FA-DE988194E50E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8BA2CFA-13E4-4C70-7C9D-3AA9B883DEAB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012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14A758DD-191C-BE0B-136E-BC3EB205A093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dirty="0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C. Réagir à la concurrence</a:t>
            </a:r>
            <a:endParaRPr lang="fr-FR" sz="28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9F3896D4-42F9-F0CD-CFAA-7A952051893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FC466E02-595A-AB2B-C73C-E7FE9A063E04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Comment a évolué le prix des principaux concurrents de Bombay chez Leclerc sur la période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D15A36EA-088C-269F-23D0-CF41505912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50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53EC67CC-BC69-9A64-81D4-E690BA5A803B}"/>
              </a:ext>
            </a:extLst>
          </p:cNvPr>
          <p:cNvGrpSpPr/>
          <p:nvPr/>
        </p:nvGrpSpPr>
        <p:grpSpPr>
          <a:xfrm>
            <a:off x="898071" y="1563201"/>
            <a:ext cx="4283529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5F5E3299-1E3A-51B7-8CB3-923B88F49293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Prix moyen par litre pour les principaux concurrents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83F1ADB7-5B4B-6265-F8AA-719ACB98BEE9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1BEFF3DA-80A7-12EC-4591-7C2D1354497E}"/>
              </a:ext>
            </a:extLst>
          </p:cNvPr>
          <p:cNvGrpSpPr/>
          <p:nvPr/>
        </p:nvGrpSpPr>
        <p:grpSpPr>
          <a:xfrm>
            <a:off x="5759066" y="1563201"/>
            <a:ext cx="4283529" cy="534498"/>
            <a:chOff x="1050129" y="1563201"/>
            <a:chExt cx="4326467" cy="534498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8A55C032-8D67-7F6D-A122-634273B804E1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Évolution de l’indice prix des produits concurrents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040913FE-007C-6B74-8EFE-9959A9A361B2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Base 100 : prix/L moyen du produit au 23 juin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384D5C15-EBEA-7522-3742-9B3DE58FE25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46057" y="2267443"/>
            <a:ext cx="6013740" cy="3845624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37F74BE2-FCEE-8B37-41F6-5F4C4D415C8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0989" y="2243166"/>
            <a:ext cx="4286274" cy="38916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0975032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2C79A66-2E36-7DD9-80CE-7427574798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27A5781-DCC9-607F-F529-645FF04F0B40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54F6E31-189E-EA84-88A8-1CCE4F2FCE66}"/>
              </a:ext>
            </a:extLst>
          </p:cNvPr>
          <p:cNvSpPr/>
          <p:nvPr/>
        </p:nvSpPr>
        <p:spPr>
          <a:xfrm>
            <a:off x="532932" y="1403928"/>
            <a:ext cx="8509468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E33895D6-A05C-027D-1384-21B1DB3E7444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04436F0-7B69-B52D-FE2D-C39042F64191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013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B17916F1-598B-8744-D16B-FA8D99F07645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dirty="0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C. Réagir à la concurrence</a:t>
            </a:r>
            <a:endParaRPr lang="fr-FR" sz="24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BD05B2A1-0EEA-E5DB-F4AD-4E4A0C2EC36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85D6748-39B0-8DDD-0CBB-0B72808B7BAA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Comment a évolué le prix relatif des principaux produits concurrents par rapport à Gin Bombay Sapphire 70cl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DC6C9280-EB63-6981-0C0E-BFB2F84662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51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A42E617-5804-5E80-FED8-019EE4AF7734}"/>
              </a:ext>
            </a:extLst>
          </p:cNvPr>
          <p:cNvGrpSpPr/>
          <p:nvPr/>
        </p:nvGrpSpPr>
        <p:grpSpPr>
          <a:xfrm>
            <a:off x="898070" y="1563201"/>
            <a:ext cx="10760998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E7254E48-3D56-C383-5768-70C9B84C1A55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Évolution du prix relatif entre les produits et le prix moyen de Gin Bombay Sapphire 70cl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C8BEF8A3-D2E6-CEEB-B4C7-541B71895BEB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100 = Le prix  moyen du produit est le même que celui de Gin Bombay Sapphire 70cl chez Leclerc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F8515FAE-5BB9-768F-4B21-EF67072C88D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9836" y="2186409"/>
            <a:ext cx="11068560" cy="4046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7830777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08AA8E-57B7-2926-F6F5-204631BF3E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DA466C4-9E79-B618-C16A-BBC3D5F5F4F5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EC4CB72-90CC-B1CE-7CB8-6ACF3FCB8F05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9C770460-0C89-AD26-EFE3-F8E359BFAD5F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1351E8C-E9E8-AC14-6762-DD9328D512B8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017 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5257FFBC-796C-2CB0-D7DB-EE280925F213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4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Corriger les incohérences</a:t>
            </a:r>
            <a:endParaRPr lang="fr-FR" sz="28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C3D73578-1180-8675-84C9-84A117E994E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92FDD229-2539-9CD4-B864-2323B1F20991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 est le prix relatif de Bombay Bramble 70cl vs Gin Bombay Sapphire 70cl dans chaque magasin où les 2 sont proposés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30FB10A2-7906-9B0E-4243-80B95FAD5D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52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935B858-61E5-7EB1-D296-3232DCDCCD2A}"/>
              </a:ext>
            </a:extLst>
          </p:cNvPr>
          <p:cNvGrpSpPr/>
          <p:nvPr/>
        </p:nvGrpSpPr>
        <p:grpSpPr>
          <a:xfrm>
            <a:off x="898070" y="1563201"/>
            <a:ext cx="7258959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EF96B2A7-A9ED-60CD-EA6A-FC69799B7465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Distribution prix par litre avant promotion de Bulldog 70Cl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25B54ADF-9943-DBA4-23FB-9A9C23DC96ED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11" name="Speech Bubble: Rectangle with Corners Rounded 10">
            <a:extLst>
              <a:ext uri="{FF2B5EF4-FFF2-40B4-BE49-F238E27FC236}">
                <a16:creationId xmlns:a16="http://schemas.microsoft.com/office/drawing/2014/main" id="{6FF70E69-338E-95ED-BC4D-882693502F4A}"/>
              </a:ext>
            </a:extLst>
          </p:cNvPr>
          <p:cNvSpPr/>
          <p:nvPr/>
        </p:nvSpPr>
        <p:spPr>
          <a:xfrm>
            <a:off x="10285995" y="2243165"/>
            <a:ext cx="1543328" cy="1423935"/>
          </a:xfrm>
          <a:prstGeom prst="wedgeRoundRectCallout">
            <a:avLst>
              <a:gd name="adj1" fmla="val -58508"/>
              <a:gd name="adj2" fmla="val 24705"/>
              <a:gd name="adj3" fmla="val 16667"/>
            </a:avLst>
          </a:prstGeom>
          <a:solidFill>
            <a:srgbClr val="FFFFFF">
              <a:alpha val="80000"/>
            </a:srgb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96072C1-2E60-E638-5D67-AAA55A49128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4000" y="2142867"/>
            <a:ext cx="9114374" cy="3996677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90415543-91CF-ED4F-58F7-B656E91067E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414661" y="2334455"/>
            <a:ext cx="1327319" cy="1301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1553138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E219E4-F327-2C97-43F3-83768DAB18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6CFBA07-2D32-DA99-DAF6-D06070382B00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565DA9F-EDC1-6D51-3032-EE9B04C27F37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CA54F457-F65E-8021-5E52-0CF39E1D32C3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AA31700-D135-6780-5730-BBF0554D1A9E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018 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A601A4FA-6B34-3B7F-7098-2CCC4C6956CC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5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Suivre les prix psychologiques</a:t>
            </a:r>
            <a:endParaRPr lang="fr-FR" sz="28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479C9B74-DB15-23D9-BA71-80378629640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D979170-A4F1-B1F0-F5A3-7436DABBA233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Certains seuils psychologiques ont-ils été franchis par Bombay Bramble 70cl sur la période ? 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6FF11D61-CA22-AC7F-A61B-3A1F499A4B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53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BA21C56-BB87-E073-47D6-84A22701D5F3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0FD67726-03C9-01B0-95E8-C103F5F1F8AC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Fréquence de franchissement de seuil psychologique (1€, 5€, 10€) à la hausse ou à la baisse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70EFD7C8-ED36-E2C0-B231-24569083C6AB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Bombay Bramble 70cl 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B4153E4A-10F9-F15A-5748-987B99E7B7D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8071" y="2243165"/>
            <a:ext cx="10578576" cy="3855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3098654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EEBCCF-34D1-FB40-A776-A5EFF5BE1E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F34CF61-60D8-BF64-93F0-FD2DB48F8004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B027E9E-2535-EEAA-0012-2BEBA70E8475}"/>
              </a:ext>
            </a:extLst>
          </p:cNvPr>
          <p:cNvSpPr/>
          <p:nvPr/>
        </p:nvSpPr>
        <p:spPr>
          <a:xfrm>
            <a:off x="532932" y="1403928"/>
            <a:ext cx="7425090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658A2BE5-BE3D-1C0E-6D78-183A372AC4BB}"/>
              </a:ext>
            </a:extLst>
          </p:cNvPr>
          <p:cNvGrpSpPr/>
          <p:nvPr/>
        </p:nvGrpSpPr>
        <p:grpSpPr>
          <a:xfrm>
            <a:off x="1494970" y="2329031"/>
            <a:ext cx="6081487" cy="3251294"/>
            <a:chOff x="1494970" y="2329031"/>
            <a:chExt cx="6618515" cy="3251294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542BADA4-6DC8-7559-D3D3-2DECB64A1716}"/>
                </a:ext>
              </a:extLst>
            </p:cNvPr>
            <p:cNvSpPr/>
            <p:nvPr/>
          </p:nvSpPr>
          <p:spPr>
            <a:xfrm>
              <a:off x="1494970" y="2329031"/>
              <a:ext cx="3309257" cy="1625647"/>
            </a:xfrm>
            <a:prstGeom prst="rect">
              <a:avLst/>
            </a:prstGeom>
            <a:solidFill>
              <a:srgbClr val="FFF8E1">
                <a:alpha val="49804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F93E5F9A-FB20-56A8-3D32-C7E5ED76B6BE}"/>
                </a:ext>
              </a:extLst>
            </p:cNvPr>
            <p:cNvSpPr/>
            <p:nvPr/>
          </p:nvSpPr>
          <p:spPr>
            <a:xfrm>
              <a:off x="1494970" y="3954678"/>
              <a:ext cx="3309257" cy="1625647"/>
            </a:xfrm>
            <a:prstGeom prst="rect">
              <a:avLst/>
            </a:prstGeom>
            <a:solidFill>
              <a:schemeClr val="accent1">
                <a:lumMod val="20000"/>
                <a:lumOff val="80000"/>
                <a:alpha val="49804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464168BE-9D67-A193-C18C-D4E018C51F0E}"/>
                </a:ext>
              </a:extLst>
            </p:cNvPr>
            <p:cNvSpPr/>
            <p:nvPr/>
          </p:nvSpPr>
          <p:spPr>
            <a:xfrm>
              <a:off x="4804228" y="3954678"/>
              <a:ext cx="3309257" cy="1625647"/>
            </a:xfrm>
            <a:prstGeom prst="rect">
              <a:avLst/>
            </a:prstGeom>
            <a:solidFill>
              <a:schemeClr val="tx2">
                <a:lumMod val="20000"/>
                <a:lumOff val="80000"/>
                <a:alpha val="49804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7F9F09FC-50AC-3B78-E5E4-82395657B6C9}"/>
                </a:ext>
              </a:extLst>
            </p:cNvPr>
            <p:cNvSpPr/>
            <p:nvPr/>
          </p:nvSpPr>
          <p:spPr>
            <a:xfrm>
              <a:off x="4804228" y="2329031"/>
              <a:ext cx="3309257" cy="1625647"/>
            </a:xfrm>
            <a:prstGeom prst="rect">
              <a:avLst/>
            </a:prstGeom>
            <a:solidFill>
              <a:srgbClr val="E2F0D9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357EA349-6C2A-F501-2E4B-C6CEE312B9AA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8DA0271-DEA4-4469-9B2D-5D8DE65ECAAC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014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D6AD8321-9A47-76DB-B5BA-167EEBD4CB45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dirty="0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C. Réagir à la concurrence</a:t>
            </a:r>
            <a:endParaRPr lang="fr-FR" sz="24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734EDE5A-7909-9E84-084B-90124333DC4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E6853D98-122C-832F-7842-9E5B83A876D5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Quel est l’impact observé sur les différents produits en fonction de l’évolution du prix moyen </a:t>
            </a:r>
            <a:r>
              <a:rPr lang="fr-FR" sz="2000" b="1" dirty="0">
                <a:latin typeface="Aptos Black" panose="020B0004020202020204" pitchFamily="34" charset="0"/>
              </a:rPr>
              <a:t>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6B007F98-9825-6FA5-1CD7-C64302714C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54</a:t>
            </a:fld>
            <a:endParaRPr lang="fr-FR" dirty="0"/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C500DBDA-E1AA-2BD5-0D24-EC676273BE27}"/>
              </a:ext>
            </a:extLst>
          </p:cNvPr>
          <p:cNvGrpSpPr/>
          <p:nvPr/>
        </p:nvGrpSpPr>
        <p:grpSpPr>
          <a:xfrm>
            <a:off x="898070" y="1563201"/>
            <a:ext cx="7712530" cy="534498"/>
            <a:chOff x="898070" y="1563201"/>
            <a:chExt cx="7712530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361F8257-E41C-985F-E067-B9578C44943E}"/>
                </a:ext>
              </a:extLst>
            </p:cNvPr>
            <p:cNvSpPr txBox="1"/>
            <p:nvPr/>
          </p:nvSpPr>
          <p:spPr>
            <a:xfrm>
              <a:off x="898070" y="1563201"/>
              <a:ext cx="7712530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Évolution de la distribution numérique et du prix moyen par litre par produit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CBF1AC1E-FBCF-C92D-F1ED-7738E34749CE}"/>
                </a:ext>
              </a:extLst>
            </p:cNvPr>
            <p:cNvSpPr txBox="1"/>
            <p:nvPr/>
          </p:nvSpPr>
          <p:spPr>
            <a:xfrm>
              <a:off x="898070" y="1787741"/>
              <a:ext cx="7712530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1 bulle = 1 produit, Taille = DN au 22 sept 2025, évolution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0D7C0DD3-0AA6-C110-A77F-D4895AFEAA45}"/>
              </a:ext>
            </a:extLst>
          </p:cNvPr>
          <p:cNvSpPr txBox="1"/>
          <p:nvPr/>
        </p:nvSpPr>
        <p:spPr>
          <a:xfrm>
            <a:off x="10753274" y="1563201"/>
            <a:ext cx="1200748" cy="525401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pPr algn="ctr"/>
            <a:r>
              <a:rPr lang="fr-FR" sz="1400" i="1" dirty="0">
                <a:latin typeface="Aptos" panose="020B0004020202020204" pitchFamily="34" charset="0"/>
              </a:rPr>
              <a:t>Évolution</a:t>
            </a:r>
          </a:p>
          <a:p>
            <a:pPr algn="ctr"/>
            <a:endParaRPr lang="fr-FR" sz="1400" i="1" dirty="0">
              <a:latin typeface="Aptos" panose="020B0004020202020204" pitchFamily="34" charset="0"/>
            </a:endParaRPr>
          </a:p>
        </p:txBody>
      </p:sp>
      <p:graphicFrame>
        <p:nvGraphicFramePr>
          <p:cNvPr id="23" name="Table 22">
            <a:extLst>
              <a:ext uri="{FF2B5EF4-FFF2-40B4-BE49-F238E27FC236}">
                <a16:creationId xmlns:a16="http://schemas.microsoft.com/office/drawing/2014/main" id="{BFE800F5-C801-700E-DF8D-F2C03EB1197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2545156"/>
              </p:ext>
            </p:extLst>
          </p:nvPr>
        </p:nvGraphicFramePr>
        <p:xfrm>
          <a:off x="8246022" y="1908781"/>
          <a:ext cx="3708000" cy="4327042"/>
        </p:xfrm>
        <a:graphic>
          <a:graphicData uri="http://schemas.openxmlformats.org/drawingml/2006/table">
            <a:tbl>
              <a:tblPr/>
              <a:tblGrid>
                <a:gridCol w="1872000">
                  <a:extLst>
                    <a:ext uri="{9D8B030D-6E8A-4147-A177-3AD203B41FA5}">
                      <a16:colId xmlns:a16="http://schemas.microsoft.com/office/drawing/2014/main" val="3091856235"/>
                    </a:ext>
                  </a:extLst>
                </a:gridCol>
                <a:gridCol w="612000">
                  <a:extLst>
                    <a:ext uri="{9D8B030D-6E8A-4147-A177-3AD203B41FA5}">
                      <a16:colId xmlns:a16="http://schemas.microsoft.com/office/drawing/2014/main" val="3444581081"/>
                    </a:ext>
                  </a:extLst>
                </a:gridCol>
                <a:gridCol w="612000">
                  <a:extLst>
                    <a:ext uri="{9D8B030D-6E8A-4147-A177-3AD203B41FA5}">
                      <a16:colId xmlns:a16="http://schemas.microsoft.com/office/drawing/2014/main" val="1282863532"/>
                    </a:ext>
                  </a:extLst>
                </a:gridCol>
                <a:gridCol w="612000">
                  <a:extLst>
                    <a:ext uri="{9D8B030D-6E8A-4147-A177-3AD203B41FA5}">
                      <a16:colId xmlns:a16="http://schemas.microsoft.com/office/drawing/2014/main" val="2381432995"/>
                    </a:ext>
                  </a:extLst>
                </a:gridCol>
              </a:tblGrid>
              <a:tr h="421572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Taille</a:t>
                      </a:r>
                    </a:p>
                    <a:p>
                      <a:pPr algn="ctr" rtl="0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DN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rgbClr val="868A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68A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1B1C1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X</a:t>
                      </a:r>
                    </a:p>
                    <a:p>
                      <a:pPr algn="ctr" rtl="0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D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868A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68A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68A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1B1C1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Y</a:t>
                      </a:r>
                    </a:p>
                    <a:p>
                      <a:pPr algn="ctr" rtl="0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Prix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868A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68A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68A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1B1C1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4123731"/>
                  </a:ext>
                </a:extLst>
              </a:tr>
              <a:tr h="390547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Gin Bombay Sapphire 70cl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90%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+0,1pp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+0,2%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0810641"/>
                  </a:ext>
                </a:extLst>
              </a:tr>
              <a:tr h="390547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Bombay Citron Pressé 70cl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41%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-6,9pp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-0,5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3367096"/>
                  </a:ext>
                </a:extLst>
              </a:tr>
              <a:tr h="390547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Tanqueray 70cl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31%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+3,4pp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+2,1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3723037"/>
                  </a:ext>
                </a:extLst>
              </a:tr>
              <a:tr h="390547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Bombay Sapphire Sunset 70cl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17%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-4,2pp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+0,4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6571120"/>
                  </a:ext>
                </a:extLst>
              </a:tr>
              <a:tr h="390547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Bulldog 70cl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10%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-0,8pp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-5,4%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9104410"/>
                  </a:ext>
                </a:extLst>
              </a:tr>
              <a:tr h="390547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Bombay Bramble 70cl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9%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-2,5pp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+2,7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9606818"/>
                  </a:ext>
                </a:extLst>
              </a:tr>
              <a:tr h="390547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Tanqueray Sans Alcool 70cl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3%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+0,9pp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-5,1%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8735712"/>
                  </a:ext>
                </a:extLst>
              </a:tr>
              <a:tr h="390547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Gin Bombay Sapphire East 70cl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2%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+0,1pp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-2,1%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1559408"/>
                  </a:ext>
                </a:extLst>
              </a:tr>
              <a:tr h="390547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Tanqueray Dry Gin 70cl</a:t>
                      </a:r>
                      <a:endParaRPr lang="en-US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1%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-1,3pp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-2,8%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5774217"/>
                  </a:ext>
                </a:extLst>
              </a:tr>
              <a:tr h="390547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BULLDOG - London dry gin 1 verre - 70cl (coffret)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0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0,0pp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-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9790735"/>
                  </a:ext>
                </a:extLst>
              </a:tr>
            </a:tbl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19300072-059E-DF2F-7EC2-D12D2066EF0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00877" y="2198921"/>
            <a:ext cx="3996573" cy="4161129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6C1490A1-922E-5D50-5877-6FB3400046D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8340" y="2046273"/>
            <a:ext cx="7204502" cy="4189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5935303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08AA8E-57B7-2926-F6F5-204631BF3E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DA466C4-9E79-B618-C16A-BBC3D5F5F4F5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EC4CB72-90CC-B1CE-7CB8-6ACF3FCB8F05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9C770460-0C89-AD26-EFE3-F8E359BFAD5F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1351E8C-E9E8-AC14-6762-DD9328D512B8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017 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5257FFBC-796C-2CB0-D7DB-EE280925F213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4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Corriger les incohérences</a:t>
            </a:r>
            <a:endParaRPr lang="fr-FR" sz="28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C3D73578-1180-8675-84C9-84A117E994E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92FDD229-2539-9CD4-B864-2323B1F20991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 est le prix relatif de Bombay Sapphire Sunset 70cl vs Gin Bombay Sapphire 70cl dans chaque magasin où les 2 sont proposés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30FB10A2-7906-9B0E-4243-80B95FAD5D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55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935B858-61E5-7EB1-D296-3232DCDCCD2A}"/>
              </a:ext>
            </a:extLst>
          </p:cNvPr>
          <p:cNvGrpSpPr/>
          <p:nvPr/>
        </p:nvGrpSpPr>
        <p:grpSpPr>
          <a:xfrm>
            <a:off x="898070" y="1563201"/>
            <a:ext cx="7258959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EF96B2A7-A9ED-60CD-EA6A-FC69799B7465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Distribution prix par litre avant promotion de Bulldog 70Cl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25B54ADF-9943-DBA4-23FB-9A9C23DC96ED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11" name="Speech Bubble: Rectangle with Corners Rounded 10">
            <a:extLst>
              <a:ext uri="{FF2B5EF4-FFF2-40B4-BE49-F238E27FC236}">
                <a16:creationId xmlns:a16="http://schemas.microsoft.com/office/drawing/2014/main" id="{6FF70E69-338E-95ED-BC4D-882693502F4A}"/>
              </a:ext>
            </a:extLst>
          </p:cNvPr>
          <p:cNvSpPr/>
          <p:nvPr/>
        </p:nvSpPr>
        <p:spPr>
          <a:xfrm>
            <a:off x="10285995" y="2243165"/>
            <a:ext cx="1543328" cy="1423935"/>
          </a:xfrm>
          <a:prstGeom prst="wedgeRoundRectCallout">
            <a:avLst>
              <a:gd name="adj1" fmla="val -58508"/>
              <a:gd name="adj2" fmla="val 24705"/>
              <a:gd name="adj3" fmla="val 16667"/>
            </a:avLst>
          </a:prstGeom>
          <a:solidFill>
            <a:srgbClr val="FFFFFF">
              <a:alpha val="80000"/>
            </a:srgb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16F0893-0A5F-B843-9626-ECE4B1C6E24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4000" y="2142867"/>
            <a:ext cx="9114374" cy="3996677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389AC08C-D354-5C4D-6577-F91A918D936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414660" y="2334455"/>
            <a:ext cx="1328871" cy="1301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225495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E219E4-F327-2C97-43F3-83768DAB18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6CFBA07-2D32-DA99-DAF6-D06070382B00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565DA9F-EDC1-6D51-3032-EE9B04C27F37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CA54F457-F65E-8021-5E52-0CF39E1D32C3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AA31700-D135-6780-5730-BBF0554D1A9E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018 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A601A4FA-6B34-3B7F-7098-2CCC4C6956CC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5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Suivre les prix psychologiques</a:t>
            </a:r>
            <a:endParaRPr lang="fr-FR" sz="28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479C9B74-DB15-23D9-BA71-80378629640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D979170-A4F1-B1F0-F5A3-7436DABBA233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Certains seuils psychologiques ont-ils été franchis par Bombay Sapphire Sunset 70cl sur la période ? 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6FF11D61-CA22-AC7F-A61B-3A1F499A4B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56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BA21C56-BB87-E073-47D6-84A22701D5F3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0FD67726-03C9-01B0-95E8-C103F5F1F8AC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Fréquence de franchissement de seuil psychologique (1€, 5€, 10€) à la hausse ou à la baisse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70EFD7C8-ED36-E2C0-B231-24569083C6AB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Bombay Sapphire Sunset 70cl 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7ECB3600-DCA0-5D65-B84A-F3898E6DBC3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8071" y="2243165"/>
            <a:ext cx="10578576" cy="3855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3054623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F72D51-43E1-3A38-6AD4-673BCF1FCF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3A7F18E-E733-20F0-012B-65FE6649FD29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E23AA1E-18F2-2471-993E-EFF44E922B0D}"/>
              </a:ext>
            </a:extLst>
          </p:cNvPr>
          <p:cNvSpPr/>
          <p:nvPr/>
        </p:nvSpPr>
        <p:spPr>
          <a:xfrm>
            <a:off x="532932" y="1403928"/>
            <a:ext cx="8636468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9A95163C-2809-1432-3645-6A32E887E807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5267E43-4B71-2D87-F21B-99BB4F2AB3DD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006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672B4D00-559C-19DB-400D-880057F1F45E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1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Maitriser le positionnement prix</a:t>
            </a:r>
            <a:endParaRPr lang="fr-FR" sz="28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05AE9807-4B9D-4CD4-FFBC-8F5D2EF8151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1BE4D1AD-2EFD-D6CF-A761-FCA3B214FB26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Le prix de Gin Bombay Sapphire 70cl est il correctement positionné par rapport aux principaux concurrents directs dans chaque magasin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01703E0C-D4C0-8A95-D1BF-C2773FD172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57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8D08D8CD-6EE7-71F4-C3C5-58E2019F5854}"/>
              </a:ext>
            </a:extLst>
          </p:cNvPr>
          <p:cNvGrpSpPr/>
          <p:nvPr/>
        </p:nvGrpSpPr>
        <p:grpSpPr>
          <a:xfrm>
            <a:off x="898070" y="1563201"/>
            <a:ext cx="7258959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B90E45F0-D36E-360A-9D3E-DD7E4DEC4769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Répartition des prix relatif des produits à Gin Bombay Sapphire 70cl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30B64316-7CF2-865F-2F30-C25B415E1EAA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Indice (100 = prix de Gin Bombay Sapphire 70cl dans le magasin)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64E0C5E8-A8CF-A56C-06F4-1E3A2A466B2B}"/>
              </a:ext>
            </a:extLst>
          </p:cNvPr>
          <p:cNvGrpSpPr/>
          <p:nvPr/>
        </p:nvGrpSpPr>
        <p:grpSpPr>
          <a:xfrm>
            <a:off x="9462489" y="1563201"/>
            <a:ext cx="2263836" cy="534498"/>
            <a:chOff x="1050129" y="1563201"/>
            <a:chExt cx="4326467" cy="534498"/>
          </a:xfrm>
        </p:grpSpPr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0E6580F5-7234-07C2-75A6-30437895048F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Distribution numérique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65F38BFD-5C56-ED5E-1A51-71ED4950E4E0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pic>
        <p:nvPicPr>
          <p:cNvPr id="11" name="Picture 10">
            <a:extLst>
              <a:ext uri="{FF2B5EF4-FFF2-40B4-BE49-F238E27FC236}">
                <a16:creationId xmlns:a16="http://schemas.microsoft.com/office/drawing/2014/main" id="{4DF5EBD0-66E1-A3E1-382F-29D73707392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68025" y="2114075"/>
            <a:ext cx="8574476" cy="417449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68F9780D-0ED9-4B69-70AB-5AD956CBCE8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300251" y="2119775"/>
            <a:ext cx="2498519" cy="36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1950251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08AA8E-57B7-2926-F6F5-204631BF3E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DA466C4-9E79-B618-C16A-BBC3D5F5F4F5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EC4CB72-90CC-B1CE-7CB8-6ACF3FCB8F05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9C770460-0C89-AD26-EFE3-F8E359BFAD5F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1351E8C-E9E8-AC14-6762-DD9328D512B8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017 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5257FFBC-796C-2CB0-D7DB-EE280925F213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4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Corriger les incohérences</a:t>
            </a:r>
            <a:endParaRPr lang="fr-FR" sz="28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C3D73578-1180-8675-84C9-84A117E994E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92FDD229-2539-9CD4-B864-2323B1F20991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 est le prix relatif de Bombay Citron Pressé 70cl vs Gin Bombay Sapphire 70cl dans chaque magasin où les 2 sont proposés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30FB10A2-7906-9B0E-4243-80B95FAD5D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58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935B858-61E5-7EB1-D296-3232DCDCCD2A}"/>
              </a:ext>
            </a:extLst>
          </p:cNvPr>
          <p:cNvGrpSpPr/>
          <p:nvPr/>
        </p:nvGrpSpPr>
        <p:grpSpPr>
          <a:xfrm>
            <a:off x="898070" y="1563201"/>
            <a:ext cx="7258959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EF96B2A7-A9ED-60CD-EA6A-FC69799B7465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Distribution prix par litre avant promotion de Bulldog 70Cl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25B54ADF-9943-DBA4-23FB-9A9C23DC96ED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11" name="Speech Bubble: Rectangle with Corners Rounded 10">
            <a:extLst>
              <a:ext uri="{FF2B5EF4-FFF2-40B4-BE49-F238E27FC236}">
                <a16:creationId xmlns:a16="http://schemas.microsoft.com/office/drawing/2014/main" id="{6FF70E69-338E-95ED-BC4D-882693502F4A}"/>
              </a:ext>
            </a:extLst>
          </p:cNvPr>
          <p:cNvSpPr/>
          <p:nvPr/>
        </p:nvSpPr>
        <p:spPr>
          <a:xfrm>
            <a:off x="10285995" y="2243165"/>
            <a:ext cx="1543328" cy="1423935"/>
          </a:xfrm>
          <a:prstGeom prst="wedgeRoundRectCallout">
            <a:avLst>
              <a:gd name="adj1" fmla="val -58508"/>
              <a:gd name="adj2" fmla="val 24705"/>
              <a:gd name="adj3" fmla="val 16667"/>
            </a:avLst>
          </a:prstGeom>
          <a:solidFill>
            <a:srgbClr val="FFFFFF">
              <a:alpha val="80000"/>
            </a:srgb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D899F67-AA5C-CA06-71B1-3DDB95BF7DA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4000" y="2142867"/>
            <a:ext cx="9114374" cy="3996677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E85F525D-2AF1-E8CA-6A92-FBDC967BBB5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414661" y="2334455"/>
            <a:ext cx="1327319" cy="1301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0914393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E219E4-F327-2C97-43F3-83768DAB18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6CFBA07-2D32-DA99-DAF6-D06070382B00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565DA9F-EDC1-6D51-3032-EE9B04C27F37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CA54F457-F65E-8021-5E52-0CF39E1D32C3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AA31700-D135-6780-5730-BBF0554D1A9E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018 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A601A4FA-6B34-3B7F-7098-2CCC4C6956CC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5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Suivre les prix psychologiques</a:t>
            </a:r>
            <a:endParaRPr lang="fr-FR" sz="28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479C9B74-DB15-23D9-BA71-80378629640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D979170-A4F1-B1F0-F5A3-7436DABBA233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Certains seuils psychologiques ont-ils été franchis par Bombay Citron Pressé 70cl sur la période ? 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6FF11D61-CA22-AC7F-A61B-3A1F499A4B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59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BA21C56-BB87-E073-47D6-84A22701D5F3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0FD67726-03C9-01B0-95E8-C103F5F1F8AC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Fréquence de franchissement de seuil psychologique (1€, 5€, 10€) à la hausse ou à la baisse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70EFD7C8-ED36-E2C0-B231-24569083C6AB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Bombay Citron Pressé 70cl 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90C440BB-4FC2-3F42-2378-90F783815B8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8071" y="2243165"/>
            <a:ext cx="10578576" cy="3855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88903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2E5475-8FA6-4351-A8F1-8BB4103338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2A53479B-EA0D-C37A-4374-25B4BF846CD1}"/>
              </a:ext>
            </a:extLst>
          </p:cNvPr>
          <p:cNvSpPr txBox="1"/>
          <p:nvPr/>
        </p:nvSpPr>
        <p:spPr>
          <a:xfrm>
            <a:off x="898069" y="246278"/>
            <a:ext cx="4978279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i="1" dirty="0">
                <a:latin typeface="Aptos" panose="020B0004020202020204" pitchFamily="34" charset="0"/>
              </a:rPr>
              <a:t>Ambitions stratégiques</a:t>
            </a:r>
            <a:endParaRPr lang="fr-FR" sz="2800" b="1" dirty="0">
              <a:latin typeface="Aptos Black" panose="020B00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9B550C3-0733-32AD-81AD-D4C22D04E995}"/>
              </a:ext>
            </a:extLst>
          </p:cNvPr>
          <p:cNvSpPr txBox="1"/>
          <p:nvPr/>
        </p:nvSpPr>
        <p:spPr>
          <a:xfrm>
            <a:off x="898069" y="492774"/>
            <a:ext cx="5197923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le est la performance des marques BACARDI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pic>
        <p:nvPicPr>
          <p:cNvPr id="30" name="Picture 29" descr="Documents on desk">
            <a:extLst>
              <a:ext uri="{FF2B5EF4-FFF2-40B4-BE49-F238E27FC236}">
                <a16:creationId xmlns:a16="http://schemas.microsoft.com/office/drawing/2014/main" id="{A26B8A68-5122-19C9-0828-FBBC967147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689"/>
          <a:stretch/>
        </p:blipFill>
        <p:spPr>
          <a:xfrm>
            <a:off x="6095998" y="0"/>
            <a:ext cx="6096002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59C3A3AD-EA44-FACF-3E02-1BE8C7B982F1}"/>
              </a:ext>
            </a:extLst>
          </p:cNvPr>
          <p:cNvSpPr/>
          <p:nvPr/>
        </p:nvSpPr>
        <p:spPr>
          <a:xfrm>
            <a:off x="6096003" y="0"/>
            <a:ext cx="6095998" cy="6858000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CB7DB97-20AA-51F5-8356-ACA039554919}"/>
              </a:ext>
            </a:extLst>
          </p:cNvPr>
          <p:cNvSpPr/>
          <p:nvPr/>
        </p:nvSpPr>
        <p:spPr>
          <a:xfrm>
            <a:off x="0" y="1403928"/>
            <a:ext cx="6095998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697B6ADF-9750-C8EC-6E59-EDCF6455AFC7}"/>
              </a:ext>
            </a:extLst>
          </p:cNvPr>
          <p:cNvGrpSpPr/>
          <p:nvPr/>
        </p:nvGrpSpPr>
        <p:grpSpPr>
          <a:xfrm>
            <a:off x="532932" y="1621509"/>
            <a:ext cx="5343416" cy="4372891"/>
            <a:chOff x="792526" y="1621509"/>
            <a:chExt cx="5343416" cy="4436350"/>
          </a:xfrm>
        </p:grpSpPr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72450C96-E8C6-FE71-E8E6-8BAF20BD30F7}"/>
                </a:ext>
              </a:extLst>
            </p:cNvPr>
            <p:cNvSpPr/>
            <p:nvPr/>
          </p:nvSpPr>
          <p:spPr>
            <a:xfrm>
              <a:off x="792526" y="1621509"/>
              <a:ext cx="5138714" cy="4436350"/>
            </a:xfrm>
            <a:prstGeom prst="roundRect">
              <a:avLst>
                <a:gd name="adj" fmla="val 5144"/>
              </a:avLst>
            </a:prstGeom>
            <a:solidFill>
              <a:schemeClr val="bg1"/>
            </a:solidFill>
            <a:ln w="9525">
              <a:solidFill>
                <a:schemeClr val="bg1">
                  <a:lumMod val="9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120F4B58-0333-DFF2-944A-FC4C7BF3C16F}"/>
                </a:ext>
              </a:extLst>
            </p:cNvPr>
            <p:cNvGrpSpPr/>
            <p:nvPr/>
          </p:nvGrpSpPr>
          <p:grpSpPr>
            <a:xfrm>
              <a:off x="1056353" y="1773535"/>
              <a:ext cx="5079589" cy="536747"/>
              <a:chOff x="898070" y="1563201"/>
              <a:chExt cx="14236769" cy="536747"/>
            </a:xfrm>
          </p:grpSpPr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5C6C3C7A-CD6D-0893-4A5D-9A8A4CEF0026}"/>
                  </a:ext>
                </a:extLst>
              </p:cNvPr>
              <p:cNvSpPr txBox="1"/>
              <p:nvPr/>
            </p:nvSpPr>
            <p:spPr>
              <a:xfrm>
                <a:off x="898070" y="1563201"/>
                <a:ext cx="14236769" cy="525401"/>
              </a:xfrm>
              <a:prstGeom prst="rect">
                <a:avLst/>
              </a:prstGeom>
              <a:noFill/>
            </p:spPr>
            <p:txBody>
              <a:bodyPr wrap="square" lIns="0" tIns="46800" rIns="0" bIns="46800" rtlCol="0" anchor="ctr">
                <a:spAutoFit/>
              </a:bodyPr>
              <a:lstStyle/>
              <a:p>
                <a:r>
                  <a:rPr lang="fr-FR" sz="1400" b="1" dirty="0">
                    <a:latin typeface="Aptos" panose="020B0004020202020204" pitchFamily="34" charset="0"/>
                  </a:rPr>
                  <a:t>Evolution de la DN &amp; du nombre de produits proposés</a:t>
                </a:r>
              </a:p>
              <a:p>
                <a:endParaRPr lang="fr-FR" sz="1400" dirty="0">
                  <a:latin typeface="Aptos" panose="020B0004020202020204" pitchFamily="34" charset="0"/>
                </a:endParaRPr>
              </a:p>
            </p:txBody>
          </p: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8BDB630C-B925-A7B1-9A5E-372A6B18AF57}"/>
                  </a:ext>
                </a:extLst>
              </p:cNvPr>
              <p:cNvSpPr txBox="1"/>
              <p:nvPr/>
            </p:nvSpPr>
            <p:spPr>
              <a:xfrm>
                <a:off x="898070" y="1785492"/>
                <a:ext cx="10701729" cy="314456"/>
              </a:xfrm>
              <a:prstGeom prst="rect">
                <a:avLst/>
              </a:prstGeom>
              <a:noFill/>
            </p:spPr>
            <p:txBody>
              <a:bodyPr wrap="square" lIns="0" tIns="46800" rIns="0" bIns="46800" rtlCol="0" anchor="ctr">
                <a:spAutoFit/>
              </a:bodyPr>
              <a:lstStyle/>
              <a:p>
                <a:r>
                  <a:rPr lang="fr-FR" sz="1400">
                    <a:latin typeface="Aptos" panose="020B0004020202020204" pitchFamily="34" charset="0"/>
                  </a:rPr>
                  <a:t>Chez Leclerc le 22 sept 2025</a:t>
                </a:r>
                <a:endParaRPr lang="fr-FR" sz="1400" dirty="0">
                  <a:latin typeface="Aptos" panose="020B0004020202020204" pitchFamily="34" charset="0"/>
                </a:endParaRPr>
              </a:p>
            </p:txBody>
          </p:sp>
        </p:grpSp>
      </p:grp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29EC5888-CB35-4786-3881-A522DA9988A3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8C6B1E95-2264-AF19-92BF-94FD0A306B36}"/>
              </a:ext>
            </a:extLst>
          </p:cNvPr>
          <p:cNvSpPr/>
          <p:nvPr/>
        </p:nvSpPr>
        <p:spPr>
          <a:xfrm>
            <a:off x="6594305" y="611296"/>
            <a:ext cx="226904" cy="226904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9E8ACC9-C665-2F00-C5FA-126C74330051}"/>
              </a:ext>
            </a:extLst>
          </p:cNvPr>
          <p:cNvSpPr/>
          <p:nvPr/>
        </p:nvSpPr>
        <p:spPr>
          <a:xfrm>
            <a:off x="532932" y="6405694"/>
            <a:ext cx="5563065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A003 </a:t>
            </a:r>
            <a:endParaRPr lang="en-US" sz="1100" dirty="0">
              <a:solidFill>
                <a:schemeClr val="accent3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aphicFrame>
        <p:nvGraphicFramePr>
          <p:cNvPr id="28" name="Table 27">
            <a:extLst>
              <a:ext uri="{FF2B5EF4-FFF2-40B4-BE49-F238E27FC236}">
                <a16:creationId xmlns:a16="http://schemas.microsoft.com/office/drawing/2014/main" id="{96BB5D49-FF19-3AE1-A309-A90FD952D9A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74181439"/>
              </p:ext>
            </p:extLst>
          </p:nvPr>
        </p:nvGraphicFramePr>
        <p:xfrm>
          <a:off x="6510867" y="1621508"/>
          <a:ext cx="5385959" cy="4784189"/>
        </p:xfrm>
        <a:graphic>
          <a:graphicData uri="http://schemas.openxmlformats.org/drawingml/2006/table">
            <a:tbl>
              <a:tblPr firstRow="1" bandRow="1">
                <a:effectLst>
                  <a:outerShdw blurRad="101600" sx="102000" sy="102000" algn="ctr" rotWithShape="0">
                    <a:schemeClr val="bg1">
                      <a:alpha val="20000"/>
                    </a:schemeClr>
                  </a:outerShdw>
                </a:effectLst>
                <a:tableStyleId>{073A0DAA-6AF3-43AB-8588-CEC1D06C72B9}</a:tableStyleId>
              </a:tblPr>
              <a:tblGrid>
                <a:gridCol w="576580">
                  <a:extLst>
                    <a:ext uri="{9D8B030D-6E8A-4147-A177-3AD203B41FA5}">
                      <a16:colId xmlns:a16="http://schemas.microsoft.com/office/drawing/2014/main" val="4057496431"/>
                    </a:ext>
                  </a:extLst>
                </a:gridCol>
                <a:gridCol w="1772073">
                  <a:extLst>
                    <a:ext uri="{9D8B030D-6E8A-4147-A177-3AD203B41FA5}">
                      <a16:colId xmlns:a16="http://schemas.microsoft.com/office/drawing/2014/main" val="4090359126"/>
                    </a:ext>
                  </a:extLst>
                </a:gridCol>
                <a:gridCol w="1518653">
                  <a:extLst>
                    <a:ext uri="{9D8B030D-6E8A-4147-A177-3AD203B41FA5}">
                      <a16:colId xmlns:a16="http://schemas.microsoft.com/office/drawing/2014/main" val="1400896486"/>
                    </a:ext>
                  </a:extLst>
                </a:gridCol>
                <a:gridCol w="1518653">
                  <a:extLst>
                    <a:ext uri="{9D8B030D-6E8A-4147-A177-3AD203B41FA5}">
                      <a16:colId xmlns:a16="http://schemas.microsoft.com/office/drawing/2014/main" val="3900701974"/>
                    </a:ext>
                  </a:extLst>
                </a:gridCol>
              </a:tblGrid>
              <a:tr h="298979">
                <a:tc>
                  <a:txBody>
                    <a:bodyPr/>
                    <a:lstStyle/>
                    <a:p>
                      <a:pPr algn="ctr"/>
                      <a:r>
                        <a:rPr lang="fr-FR" sz="1200" dirty="0">
                          <a:solidFill>
                            <a:schemeClr val="bg1"/>
                          </a:solidFill>
                          <a:latin typeface="Aptos Black" panose="020B0004020202020204" pitchFamily="34" charset="0"/>
                        </a:rPr>
                        <a:t>N°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>
                          <a:latin typeface="+mj-lt"/>
                        </a:rPr>
                        <a:t>Marque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>
                          <a:latin typeface="+mj-lt"/>
                        </a:rPr>
                        <a:t>Distribution numériqu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>
                          <a:latin typeface="+mj-lt"/>
                        </a:rPr>
                        <a:t>Produits par magasi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34086938"/>
                  </a:ext>
                </a:extLst>
              </a:tr>
              <a:tr h="44852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bg1"/>
                          </a:solidFill>
                          <a:effectLst/>
                          <a:latin typeface="Aptos Black" panose="020B0004020202020204" pitchFamily="34" charset="0"/>
                        </a:rPr>
                        <a:t>01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BOMBAY
GIN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>
                          <a:solidFill>
                            <a:schemeClr val="bg1"/>
                          </a:solidFill>
                          <a:latin typeface="+mj-lt"/>
                        </a:rPr>
                        <a:t>94% (+93,6pp)</a:t>
                      </a:r>
                      <a:endParaRPr lang="fr-FR" sz="12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,7 (+0,7pp)</a:t>
                      </a:r>
                      <a:endParaRPr lang="fr-FR" sz="12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07232"/>
                  </a:ext>
                </a:extLst>
              </a:tr>
              <a:tr h="44852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bg1"/>
                          </a:solidFill>
                          <a:effectLst/>
                          <a:latin typeface="Aptos Black" panose="020B0004020202020204" pitchFamily="34" charset="0"/>
                        </a:rPr>
                        <a:t>02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BOMBAY
AUTRE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>
                          <a:solidFill>
                            <a:schemeClr val="bg1"/>
                          </a:solidFill>
                          <a:latin typeface="+mj-lt"/>
                        </a:rPr>
                        <a:t>0% (-0,1pp)</a:t>
                      </a:r>
                      <a:endParaRPr lang="fr-FR" sz="12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,0 ( = )</a:t>
                      </a:r>
                      <a:endParaRPr lang="fr-FR" sz="12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2952750"/>
                  </a:ext>
                </a:extLst>
              </a:tr>
              <a:tr h="44852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bg1"/>
                          </a:solidFill>
                          <a:effectLst/>
                          <a:latin typeface="Aptos Black" panose="020B0004020202020204" pitchFamily="34" charset="0"/>
                        </a:rPr>
                        <a:t>03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ET
LIQUEURS ET CRÈMES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>
                          <a:solidFill>
                            <a:schemeClr val="bg1"/>
                          </a:solidFill>
                          <a:latin typeface="+mj-lt"/>
                        </a:rPr>
                        <a:t>100% (+78,5pp)</a:t>
                      </a:r>
                      <a:endParaRPr lang="fr-FR" sz="12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,7 (+3,7pp)</a:t>
                      </a:r>
                      <a:endParaRPr lang="fr-FR" sz="12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1546981"/>
                  </a:ext>
                </a:extLst>
              </a:tr>
              <a:tr h="44852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bg1"/>
                          </a:solidFill>
                          <a:effectLst/>
                          <a:latin typeface="Aptos Black" panose="020B0004020202020204" pitchFamily="34" charset="0"/>
                        </a:rPr>
                        <a:t>04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ERISTOFF
VODKA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>
                          <a:solidFill>
                            <a:schemeClr val="bg1"/>
                          </a:solidFill>
                          <a:latin typeface="+mj-lt"/>
                        </a:rPr>
                        <a:t>98% (+86,3pp)</a:t>
                      </a:r>
                      <a:endParaRPr lang="fr-FR" sz="12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,4 (+1,3pp)</a:t>
                      </a:r>
                      <a:endParaRPr lang="fr-FR" sz="12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3138766"/>
                  </a:ext>
                </a:extLst>
              </a:tr>
              <a:tr h="44852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bg1"/>
                          </a:solidFill>
                          <a:effectLst/>
                          <a:latin typeface="Aptos Black" panose="020B0004020202020204" pitchFamily="34" charset="0"/>
                        </a:rPr>
                        <a:t>05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BACARDI
RHUM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>
                          <a:solidFill>
                            <a:schemeClr val="bg1"/>
                          </a:solidFill>
                          <a:latin typeface="+mj-lt"/>
                        </a:rPr>
                        <a:t>97% (+96,0pp)</a:t>
                      </a:r>
                      <a:endParaRPr lang="fr-FR" sz="12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,4 (+1,4pp)</a:t>
                      </a:r>
                      <a:endParaRPr lang="fr-FR" sz="12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658272"/>
                  </a:ext>
                </a:extLst>
              </a:tr>
              <a:tr h="44852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bg1"/>
                          </a:solidFill>
                          <a:effectLst/>
                          <a:latin typeface="Aptos Black" panose="020B0004020202020204" pitchFamily="34" charset="0"/>
                        </a:rPr>
                        <a:t>06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J&amp;B
WHISKY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>
                          <a:solidFill>
                            <a:schemeClr val="bg1"/>
                          </a:solidFill>
                          <a:latin typeface="+mj-lt"/>
                        </a:rPr>
                        <a:t>95% (-0,7pp)</a:t>
                      </a:r>
                      <a:endParaRPr lang="fr-FR" sz="12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,8 ( = )</a:t>
                      </a:r>
                      <a:endParaRPr lang="fr-FR" sz="12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58109527"/>
                  </a:ext>
                </a:extLst>
              </a:tr>
              <a:tr h="44852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bg1"/>
                          </a:solidFill>
                          <a:effectLst/>
                          <a:latin typeface="Aptos Black" panose="020B0004020202020204" pitchFamily="34" charset="0"/>
                        </a:rPr>
                        <a:t>07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2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ARTINI
APÉRITIFS À BASE DE VIN ET VERMOUTH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>
                          <a:solidFill>
                            <a:schemeClr val="bg1"/>
                          </a:solidFill>
                          <a:latin typeface="+mj-lt"/>
                        </a:rPr>
                        <a:t>95% (+7,9pp)</a:t>
                      </a:r>
                      <a:endParaRPr lang="fr-FR" sz="12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,0 (+1,5pp)</a:t>
                      </a:r>
                      <a:endParaRPr lang="fr-FR" sz="12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8079238"/>
                  </a:ext>
                </a:extLst>
              </a:tr>
              <a:tr h="44852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bg1"/>
                          </a:solidFill>
                          <a:effectLst/>
                          <a:latin typeface="Aptos Black" panose="020B0004020202020204" pitchFamily="34" charset="0"/>
                        </a:rPr>
                        <a:t>08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WILLIAM LAWSONS
WHISKY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>
                          <a:solidFill>
                            <a:schemeClr val="bg1"/>
                          </a:solidFill>
                          <a:latin typeface="+mj-lt"/>
                        </a:rPr>
                        <a:t>94% (+0,9pp)</a:t>
                      </a:r>
                      <a:endParaRPr lang="fr-FR" sz="12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,7 ( = )</a:t>
                      </a:r>
                      <a:endParaRPr lang="fr-FR" sz="12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0193720"/>
                  </a:ext>
                </a:extLst>
              </a:tr>
              <a:tr h="44852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bg1"/>
                          </a:solidFill>
                          <a:effectLst/>
                          <a:latin typeface="Aptos Black" panose="020B0004020202020204" pitchFamily="34" charset="0"/>
                        </a:rPr>
                        <a:t>09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2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TAILS
COCKTAILS ET PRÊTS À BOIRE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>
                          <a:solidFill>
                            <a:schemeClr val="bg1"/>
                          </a:solidFill>
                          <a:latin typeface="+mj-lt"/>
                        </a:rPr>
                        <a:t>65% (-5,1pp)</a:t>
                      </a:r>
                      <a:endParaRPr lang="fr-FR" sz="12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,6 (-0,2pp)</a:t>
                      </a:r>
                      <a:endParaRPr lang="fr-FR" sz="12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43544067"/>
                  </a:ext>
                </a:extLst>
              </a:tr>
              <a:tr h="44852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bg1"/>
                          </a:solidFill>
                          <a:effectLst/>
                          <a:latin typeface="Aptos Black" panose="020B0004020202020204" pitchFamily="34" charset="0"/>
                        </a:rPr>
                        <a:t>10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REY GOOSE
VODKA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>
                          <a:solidFill>
                            <a:schemeClr val="bg1"/>
                          </a:solidFill>
                          <a:latin typeface="+mj-lt"/>
                        </a:rPr>
                        <a:t>53% (-3,4pp)</a:t>
                      </a:r>
                      <a:endParaRPr lang="fr-FR" sz="12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,5 (-0,1pp)</a:t>
                      </a:r>
                      <a:endParaRPr lang="fr-FR" sz="12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5471520"/>
                  </a:ext>
                </a:extLst>
              </a:tr>
            </a:tbl>
          </a:graphicData>
        </a:graphic>
      </p:graphicFrame>
      <p:sp>
        <p:nvSpPr>
          <p:cNvPr id="19" name="TextBox 18">
            <a:extLst>
              <a:ext uri="{FF2B5EF4-FFF2-40B4-BE49-F238E27FC236}">
                <a16:creationId xmlns:a16="http://schemas.microsoft.com/office/drawing/2014/main" id="{B5804AD3-7CC6-D16F-22E1-17965178A8C5}"/>
              </a:ext>
            </a:extLst>
          </p:cNvPr>
          <p:cNvSpPr txBox="1"/>
          <p:nvPr/>
        </p:nvSpPr>
        <p:spPr>
          <a:xfrm>
            <a:off x="6988307" y="492774"/>
            <a:ext cx="4984039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solidFill>
                  <a:schemeClr val="bg1"/>
                </a:solidFill>
                <a:latin typeface="Aptos Black" panose="020B0004020202020204" pitchFamily="34" charset="0"/>
              </a:rPr>
              <a:t>Quel est le rôle de Bombay dans le portefeuille BACARDI.</a:t>
            </a:r>
            <a:endParaRPr lang="fr-FR" sz="2400" b="1" dirty="0">
              <a:solidFill>
                <a:schemeClr val="bg1"/>
              </a:solidFill>
              <a:latin typeface="Aptos Black" panose="020B0004020202020204" pitchFamily="34" charset="0"/>
            </a:endParaRPr>
          </a:p>
        </p:txBody>
      </p:sp>
      <p:sp>
        <p:nvSpPr>
          <p:cNvPr id="2" name="Slide Number Placeholder 7">
            <a:extLst>
              <a:ext uri="{FF2B5EF4-FFF2-40B4-BE49-F238E27FC236}">
                <a16:creationId xmlns:a16="http://schemas.microsoft.com/office/drawing/2014/main" id="{3A79FC92-943A-B03D-6F91-B16E3B2FBB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>
                <a:solidFill>
                  <a:schemeClr val="bg1"/>
                </a:solidFill>
              </a:rPr>
              <a:t>6</a:t>
            </a:fld>
            <a:endParaRPr lang="fr-FR" dirty="0">
              <a:solidFill>
                <a:schemeClr val="bg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F5DCB22-3631-3E96-2A3C-592152D52B4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8598" y="2285252"/>
            <a:ext cx="4782278" cy="3569569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D8FD7530-9E3A-33AA-8D5F-B2993A1447D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753701" y="1771361"/>
            <a:ext cx="1692209" cy="478418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139E8F02-0109-1039-BEFF-7EEE6784286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281163" y="1771361"/>
            <a:ext cx="1692209" cy="4784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8112330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4FF393-3B26-1C1A-9FBC-412DB685E8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B6FDF95-AB8D-837E-3B92-FE94EB070BDC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707D0FC-8E36-ACF9-1FC8-140399961E7A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6340C0BF-38E3-EF72-B31F-9EFA3D6DB984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6A0A8D9-CE77-47A1-AA59-EB59F56201F4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007 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FC34EA68-949E-2FFF-4CC4-6D754BE516BD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1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Maitriser le positionnement prix</a:t>
            </a:r>
            <a:endParaRPr lang="fr-FR" sz="28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A7ED4F9F-6697-933F-1764-991A54DBAED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C574DBA5-32EE-940D-14B8-C3A18F276457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 est le prix relatif de Tanqueray 70Cl vs Gin Bombay Sapphire 70cl dans chaque magasin où les 2 sont proposés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9815CCB2-6B13-DB53-7D96-E193E183EC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60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9BAB4DB-9419-DA49-F022-5FBDDCF073F2}"/>
              </a:ext>
            </a:extLst>
          </p:cNvPr>
          <p:cNvGrpSpPr/>
          <p:nvPr/>
        </p:nvGrpSpPr>
        <p:grpSpPr>
          <a:xfrm>
            <a:off x="898070" y="1563201"/>
            <a:ext cx="7258959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75643B96-2658-C9A7-E21B-2D6AEF113E74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Distribution prix par litre avant promotion de Tanqueray 70Cl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5950F40D-885F-760D-C743-9959D6A73F0E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11" name="Speech Bubble: Rectangle with Corners Rounded 10">
            <a:extLst>
              <a:ext uri="{FF2B5EF4-FFF2-40B4-BE49-F238E27FC236}">
                <a16:creationId xmlns:a16="http://schemas.microsoft.com/office/drawing/2014/main" id="{79DFF134-1133-A1D6-2CFA-CCDBE45E466F}"/>
              </a:ext>
            </a:extLst>
          </p:cNvPr>
          <p:cNvSpPr/>
          <p:nvPr/>
        </p:nvSpPr>
        <p:spPr>
          <a:xfrm>
            <a:off x="10285995" y="2243165"/>
            <a:ext cx="1543328" cy="1423935"/>
          </a:xfrm>
          <a:prstGeom prst="wedgeRoundRectCallout">
            <a:avLst>
              <a:gd name="adj1" fmla="val -58508"/>
              <a:gd name="adj2" fmla="val 24705"/>
              <a:gd name="adj3" fmla="val 16667"/>
            </a:avLst>
          </a:prstGeom>
          <a:solidFill>
            <a:srgbClr val="FFFFFF">
              <a:alpha val="80000"/>
            </a:srgb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D349DD4-DB50-1645-1960-5E28FB33B6E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9018" y="2142867"/>
            <a:ext cx="9318468" cy="399667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05CF5C9-E560-3E10-7524-DFB2CDC1D91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431593" y="2338166"/>
            <a:ext cx="1329468" cy="12458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3158176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4FF393-3B26-1C1A-9FBC-412DB685E8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B6FDF95-AB8D-837E-3B92-FE94EB070BDC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707D0FC-8E36-ACF9-1FC8-140399961E7A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6340C0BF-38E3-EF72-B31F-9EFA3D6DB984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6A0A8D9-CE77-47A1-AA59-EB59F56201F4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007 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FC34EA68-949E-2FFF-4CC4-6D754BE516BD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1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Maitriser le positionnement prix</a:t>
            </a:r>
            <a:endParaRPr lang="fr-FR" sz="28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A7ED4F9F-6697-933F-1764-991A54DBAED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C574DBA5-32EE-940D-14B8-C3A18F276457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 est le prix relatif de Brightons London Dry 50Cl vs Gin Bombay Sapphire 70cl dans chaque magasin où les 2 sont proposés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9815CCB2-6B13-DB53-7D96-E193E183EC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61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9BAB4DB-9419-DA49-F022-5FBDDCF073F2}"/>
              </a:ext>
            </a:extLst>
          </p:cNvPr>
          <p:cNvGrpSpPr/>
          <p:nvPr/>
        </p:nvGrpSpPr>
        <p:grpSpPr>
          <a:xfrm>
            <a:off x="898070" y="1563201"/>
            <a:ext cx="7258959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75643B96-2658-C9A7-E21B-2D6AEF113E74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Distribution prix par litre avant promotion de Brightons London Dry 50Cl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5950F40D-885F-760D-C743-9959D6A73F0E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11" name="Speech Bubble: Rectangle with Corners Rounded 10">
            <a:extLst>
              <a:ext uri="{FF2B5EF4-FFF2-40B4-BE49-F238E27FC236}">
                <a16:creationId xmlns:a16="http://schemas.microsoft.com/office/drawing/2014/main" id="{79DFF134-1133-A1D6-2CFA-CCDBE45E466F}"/>
              </a:ext>
            </a:extLst>
          </p:cNvPr>
          <p:cNvSpPr/>
          <p:nvPr/>
        </p:nvSpPr>
        <p:spPr>
          <a:xfrm>
            <a:off x="10285995" y="2243165"/>
            <a:ext cx="1543328" cy="1423935"/>
          </a:xfrm>
          <a:prstGeom prst="wedgeRoundRectCallout">
            <a:avLst>
              <a:gd name="adj1" fmla="val -58508"/>
              <a:gd name="adj2" fmla="val 24705"/>
              <a:gd name="adj3" fmla="val 16667"/>
            </a:avLst>
          </a:prstGeom>
          <a:solidFill>
            <a:srgbClr val="FFFFFF">
              <a:alpha val="80000"/>
            </a:srgb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BC54977-AE2D-2ADD-F3B5-E3ED88203AA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9018" y="2142867"/>
            <a:ext cx="9318468" cy="399667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9359B63-23F4-AF82-66EA-22B79E88A54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431593" y="2338166"/>
            <a:ext cx="1329468" cy="12458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2347009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4FF393-3B26-1C1A-9FBC-412DB685E8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B6FDF95-AB8D-837E-3B92-FE94EB070BDC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707D0FC-8E36-ACF9-1FC8-140399961E7A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6340C0BF-38E3-EF72-B31F-9EFA3D6DB984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6A0A8D9-CE77-47A1-AA59-EB59F56201F4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007 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FC34EA68-949E-2FFF-4CC4-6D754BE516BD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1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Maitriser le positionnement prix</a:t>
            </a:r>
            <a:endParaRPr lang="fr-FR" sz="28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A7ED4F9F-6697-933F-1764-991A54DBAED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C574DBA5-32EE-940D-14B8-C3A18F276457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 est le prix relatif de Beefeater 70Cl vs Gin Bombay Sapphire 70cl dans chaque magasin où les 2 sont proposés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9815CCB2-6B13-DB53-7D96-E193E183EC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62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9BAB4DB-9419-DA49-F022-5FBDDCF073F2}"/>
              </a:ext>
            </a:extLst>
          </p:cNvPr>
          <p:cNvGrpSpPr/>
          <p:nvPr/>
        </p:nvGrpSpPr>
        <p:grpSpPr>
          <a:xfrm>
            <a:off x="898070" y="1563201"/>
            <a:ext cx="7258959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75643B96-2658-C9A7-E21B-2D6AEF113E74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Distribution prix par litre avant promotion de Beefeater 70Cl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5950F40D-885F-760D-C743-9959D6A73F0E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11" name="Speech Bubble: Rectangle with Corners Rounded 10">
            <a:extLst>
              <a:ext uri="{FF2B5EF4-FFF2-40B4-BE49-F238E27FC236}">
                <a16:creationId xmlns:a16="http://schemas.microsoft.com/office/drawing/2014/main" id="{79DFF134-1133-A1D6-2CFA-CCDBE45E466F}"/>
              </a:ext>
            </a:extLst>
          </p:cNvPr>
          <p:cNvSpPr/>
          <p:nvPr/>
        </p:nvSpPr>
        <p:spPr>
          <a:xfrm>
            <a:off x="10285995" y="2243165"/>
            <a:ext cx="1543328" cy="1423935"/>
          </a:xfrm>
          <a:prstGeom prst="wedgeRoundRectCallout">
            <a:avLst>
              <a:gd name="adj1" fmla="val -58508"/>
              <a:gd name="adj2" fmla="val 24705"/>
              <a:gd name="adj3" fmla="val 16667"/>
            </a:avLst>
          </a:prstGeom>
          <a:solidFill>
            <a:srgbClr val="FFFFFF">
              <a:alpha val="80000"/>
            </a:srgb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E5A2E66-33A5-2EA9-CFB6-F0FC83AD3AF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9018" y="2142867"/>
            <a:ext cx="9318468" cy="399667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B1020252-F87A-B955-D7A5-73E544367E3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431593" y="2338166"/>
            <a:ext cx="1329468" cy="12458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8328501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4FF393-3B26-1C1A-9FBC-412DB685E8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B6FDF95-AB8D-837E-3B92-FE94EB070BDC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707D0FC-8E36-ACF9-1FC8-140399961E7A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6340C0BF-38E3-EF72-B31F-9EFA3D6DB984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6A0A8D9-CE77-47A1-AA59-EB59F56201F4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007 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FC34EA68-949E-2FFF-4CC4-6D754BE516BD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1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Maitriser le positionnement prix</a:t>
            </a:r>
            <a:endParaRPr lang="fr-FR" sz="28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A7ED4F9F-6697-933F-1764-991A54DBAED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C574DBA5-32EE-940D-14B8-C3A18F276457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 est le prix relatif de Sakurao Japonais Classic 70Cl vs Gin Bombay Sapphire 70cl dans chaque magasin où les 2 sont proposés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9815CCB2-6B13-DB53-7D96-E193E183EC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63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9BAB4DB-9419-DA49-F022-5FBDDCF073F2}"/>
              </a:ext>
            </a:extLst>
          </p:cNvPr>
          <p:cNvGrpSpPr/>
          <p:nvPr/>
        </p:nvGrpSpPr>
        <p:grpSpPr>
          <a:xfrm>
            <a:off x="898070" y="1563201"/>
            <a:ext cx="7258959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75643B96-2658-C9A7-E21B-2D6AEF113E74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Distribution prix par litre avant promotion de Sakurao Japonais Classic 70Cl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5950F40D-885F-760D-C743-9959D6A73F0E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11" name="Speech Bubble: Rectangle with Corners Rounded 10">
            <a:extLst>
              <a:ext uri="{FF2B5EF4-FFF2-40B4-BE49-F238E27FC236}">
                <a16:creationId xmlns:a16="http://schemas.microsoft.com/office/drawing/2014/main" id="{79DFF134-1133-A1D6-2CFA-CCDBE45E466F}"/>
              </a:ext>
            </a:extLst>
          </p:cNvPr>
          <p:cNvSpPr/>
          <p:nvPr/>
        </p:nvSpPr>
        <p:spPr>
          <a:xfrm>
            <a:off x="10285995" y="2243165"/>
            <a:ext cx="1543328" cy="1423935"/>
          </a:xfrm>
          <a:prstGeom prst="wedgeRoundRectCallout">
            <a:avLst>
              <a:gd name="adj1" fmla="val -58508"/>
              <a:gd name="adj2" fmla="val 24705"/>
              <a:gd name="adj3" fmla="val 16667"/>
            </a:avLst>
          </a:prstGeom>
          <a:solidFill>
            <a:srgbClr val="FFFFFF">
              <a:alpha val="80000"/>
            </a:srgb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CE318BC-78F4-400A-3644-0B6F46D6580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9018" y="2142867"/>
            <a:ext cx="9318468" cy="399667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49C1B8C-D560-7590-1C9A-5C8B562AFCA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431593" y="2338166"/>
            <a:ext cx="1330989" cy="12458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2658043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4FF393-3B26-1C1A-9FBC-412DB685E8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B6FDF95-AB8D-837E-3B92-FE94EB070BDC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707D0FC-8E36-ACF9-1FC8-140399961E7A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6340C0BF-38E3-EF72-B31F-9EFA3D6DB984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6A0A8D9-CE77-47A1-AA59-EB59F56201F4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007 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FC34EA68-949E-2FFF-4CC4-6D754BE516BD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1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Maitriser le positionnement prix</a:t>
            </a:r>
            <a:endParaRPr lang="fr-FR" sz="28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A7ED4F9F-6697-933F-1764-991A54DBAED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C574DBA5-32EE-940D-14B8-C3A18F276457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 est le prix relatif de Bulldog 70Cl vs Gin Bombay Sapphire 70cl dans chaque magasin où les 2 sont proposés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9815CCB2-6B13-DB53-7D96-E193E183EC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64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9BAB4DB-9419-DA49-F022-5FBDDCF073F2}"/>
              </a:ext>
            </a:extLst>
          </p:cNvPr>
          <p:cNvGrpSpPr/>
          <p:nvPr/>
        </p:nvGrpSpPr>
        <p:grpSpPr>
          <a:xfrm>
            <a:off x="898070" y="1563201"/>
            <a:ext cx="7258959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75643B96-2658-C9A7-E21B-2D6AEF113E74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Distribution prix par litre avant promotion de Bulldog 70Cl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5950F40D-885F-760D-C743-9959D6A73F0E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11" name="Speech Bubble: Rectangle with Corners Rounded 10">
            <a:extLst>
              <a:ext uri="{FF2B5EF4-FFF2-40B4-BE49-F238E27FC236}">
                <a16:creationId xmlns:a16="http://schemas.microsoft.com/office/drawing/2014/main" id="{79DFF134-1133-A1D6-2CFA-CCDBE45E466F}"/>
              </a:ext>
            </a:extLst>
          </p:cNvPr>
          <p:cNvSpPr/>
          <p:nvPr/>
        </p:nvSpPr>
        <p:spPr>
          <a:xfrm>
            <a:off x="10285995" y="2243165"/>
            <a:ext cx="1543328" cy="1423935"/>
          </a:xfrm>
          <a:prstGeom prst="wedgeRoundRectCallout">
            <a:avLst>
              <a:gd name="adj1" fmla="val -58508"/>
              <a:gd name="adj2" fmla="val 24705"/>
              <a:gd name="adj3" fmla="val 16667"/>
            </a:avLst>
          </a:prstGeom>
          <a:solidFill>
            <a:srgbClr val="FFFFFF">
              <a:alpha val="80000"/>
            </a:srgb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9800CCB-FE73-916E-AFF4-44CD0FFAB3B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9018" y="2142867"/>
            <a:ext cx="9318468" cy="399667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9A8337E-EC35-10AF-75F2-2028E450C33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431593" y="2338166"/>
            <a:ext cx="1330989" cy="12458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4358476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E7C151-9AC7-BE4D-A046-F57C456A9E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48F728F-9E7C-C61E-BA7E-D7915F939C00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FCB6EC2-E950-B697-6DF9-DED862658D5D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1134A0D5-1CCD-FD67-3535-CA1D0EE92A29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ACFE1AC-9D3C-CAB7-D83F-D92A06600DFD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5 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468755DE-AFCD-E347-3774-C422D5A97782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1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Mesurer l’impact sur la distribution numérique</a:t>
            </a:r>
            <a:endParaRPr lang="fr-FR" sz="20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54CB99EF-51EB-2A1B-7E15-8595112F49A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5843494-2414-0A0D-0C95-E6AB4D6B5BA7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 a été l’impact des promotions pratiquées sur Bombay Bramble 70cl chez Leclerc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11D69F91-7572-3CDC-A78C-10924D187B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65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BF5A6B5-9029-954E-953A-9B02E2BE7670}"/>
              </a:ext>
            </a:extLst>
          </p:cNvPr>
          <p:cNvGrpSpPr/>
          <p:nvPr/>
        </p:nvGrpSpPr>
        <p:grpSpPr>
          <a:xfrm>
            <a:off x="898070" y="1563201"/>
            <a:ext cx="5071726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D2CC5DF0-96C8-52C3-F391-060D880EAF05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Répartition des magasins en promotion (zoom : conquête)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5D2BC4A0-FCEF-0FB1-4C59-66197C6B6E5C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– Gagné dans les 15 jours avant la promo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D3D04DB2-89CF-17E2-B233-E1CB871C8F2D}"/>
              </a:ext>
            </a:extLst>
          </p:cNvPr>
          <p:cNvGrpSpPr/>
          <p:nvPr/>
        </p:nvGrpSpPr>
        <p:grpSpPr>
          <a:xfrm>
            <a:off x="6587340" y="1563201"/>
            <a:ext cx="5071726" cy="534498"/>
            <a:chOff x="1050129" y="1563201"/>
            <a:chExt cx="4326467" cy="534498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564CE0C9-F8BB-98D5-49B7-268B7108D550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Répartition des magasins en promotion (zoom : perdus)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D846434C-4A25-6D36-0CC1-B8C0BAC8CCE9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– Perdus dans les 15 jours après la promo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F019C62A-695E-AB57-802C-F4042EB21A9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41120" y="2213813"/>
            <a:ext cx="5074648" cy="408012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D808D33-50C1-6685-5631-F800F56450D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8632" y="2213812"/>
            <a:ext cx="5073125" cy="4080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7915757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BE9519-A01F-06C3-C216-BB46A9C3E6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C799E25-7B48-13EA-584F-2E5123B55D4B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3A6BF6E-D1BC-A192-3243-18B960DD4F3B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AE552940-27FC-5F14-D023-266FA9541A3E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9737BCA-D7D0-9E73-1C0B-A2CE03A99026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8 </a:t>
            </a:r>
            <a:endParaRPr lang="fr-FR" sz="1100" dirty="0">
              <a:solidFill>
                <a:schemeClr val="accent3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8F20B770-9124-4CB0-EE29-462FF822504B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2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Contrôler l’exécution promotionnelle</a:t>
            </a:r>
            <a:endParaRPr lang="fr-FR" sz="20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A7942828-FD45-C8DC-F97B-23D0D14DDFB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6CD82506-BBCD-77C5-736E-A742E4359A79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 est l’impact de la promotion sur la mise en avant des produits de la catégorie Gin et du rayon Spiritueux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E7AD3571-8BE5-3AD5-43FF-2812D97D61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66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F2DD730-C4A0-9C71-1CF8-87575D282273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CC8C7833-1800-9853-746F-CE28BDA666E5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Évolution de la position moyenne des produits sur le site internet par magasins en promotion ou hors promotion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713C487-EA76-0D78-7D48-4D0050F2EB4F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5506C05C-F16B-6588-1259-81A75520F3A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8070" y="2142867"/>
            <a:ext cx="10452250" cy="41355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026250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08AA8E-57B7-2926-F6F5-204631BF3E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DA466C4-9E79-B618-C16A-BBC3D5F5F4F5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EC4CB72-90CC-B1CE-7CB8-6ACF3FCB8F05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9C770460-0C89-AD26-EFE3-F8E359BFAD5F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1351E8C-E9E8-AC14-6762-DD9328D512B8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017 [@SUPR@]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5257FFBC-796C-2CB0-D7DB-EE280925F213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4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Corriger les incohérences</a:t>
            </a:r>
            <a:endParaRPr lang="fr-FR" sz="28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C3D73578-1180-8675-84C9-84A117E994E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92FDD229-2539-9CD4-B864-2323B1F20991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 est le prix relatif de Gin Bombay Sapphire East 70cl vs Gin Bombay Sapphire 70cl dans chaque magasin où les 2 sont proposés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30FB10A2-7906-9B0E-4243-80B95FAD5D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67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935B858-61E5-7EB1-D296-3232DCDCCD2A}"/>
              </a:ext>
            </a:extLst>
          </p:cNvPr>
          <p:cNvGrpSpPr/>
          <p:nvPr/>
        </p:nvGrpSpPr>
        <p:grpSpPr>
          <a:xfrm>
            <a:off x="898070" y="1563201"/>
            <a:ext cx="7258959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EF96B2A7-A9ED-60CD-EA6A-FC69799B7465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Distribution prix par litre avant promotion de Bulldog 70Cl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25B54ADF-9943-DBA4-23FB-9A9C23DC96ED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11" name="Speech Bubble: Rectangle with Corners Rounded 10">
            <a:extLst>
              <a:ext uri="{FF2B5EF4-FFF2-40B4-BE49-F238E27FC236}">
                <a16:creationId xmlns:a16="http://schemas.microsoft.com/office/drawing/2014/main" id="{6FF70E69-338E-95ED-BC4D-882693502F4A}"/>
              </a:ext>
            </a:extLst>
          </p:cNvPr>
          <p:cNvSpPr/>
          <p:nvPr/>
        </p:nvSpPr>
        <p:spPr>
          <a:xfrm>
            <a:off x="10285995" y="2243165"/>
            <a:ext cx="1543328" cy="1423935"/>
          </a:xfrm>
          <a:prstGeom prst="wedgeRoundRectCallout">
            <a:avLst>
              <a:gd name="adj1" fmla="val -58508"/>
              <a:gd name="adj2" fmla="val 24705"/>
              <a:gd name="adj3" fmla="val 16667"/>
            </a:avLst>
          </a:prstGeom>
          <a:solidFill>
            <a:srgbClr val="FFFFFF">
              <a:alpha val="80000"/>
            </a:srgb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0C4778C-3839-85E5-D2C4-C0C75D53664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4000" y="2142867"/>
            <a:ext cx="9114374" cy="3996677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92549F8A-8BF2-6AE7-A0FE-F6900A05B36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414661" y="2334455"/>
            <a:ext cx="1327319" cy="1301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35883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CDAD47-E333-77FA-70F5-0C923AF453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F1B5D90-7A3B-1A67-DB19-F0591E0FBEFD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D2FE900-80BC-8273-AFFF-524AD7915E3C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0969D139-130B-69BF-B92F-7B766050F2C8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16DC2DA-4E09-B8E4-803C-A5000AEA4A44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7 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D5B17788-928A-4A25-10D8-D097EE4E0372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3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Suivre l’évolution du prix barré</a:t>
            </a:r>
            <a:endParaRPr lang="fr-FR" sz="20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40624E2C-90B9-08B8-965F-320AAA5858B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1CF1A02-6080-DBFF-F060-F59C3B09165E}"/>
              </a:ext>
            </a:extLst>
          </p:cNvPr>
          <p:cNvSpPr txBox="1"/>
          <p:nvPr/>
        </p:nvSpPr>
        <p:spPr>
          <a:xfrm>
            <a:off x="898070" y="492774"/>
            <a:ext cx="10760998" cy="463846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Les promotions ont-elles un impact sur le prix pratiqué avant promotion ? 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36E7B0C0-C4E1-005F-5E68-5A7A86DDE5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68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68BC29D3-1A73-17CC-95E1-48019F7C5B75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D27D17E2-68A5-81EA-97D4-F7C213385B60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Dispersion des prix pratiqués par semaine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65AEC684-FC62-82CF-F088-71986EF8B4E7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B8479FAB-EA56-EE56-2571-477D4EBCFFB9}"/>
              </a:ext>
            </a:extLst>
          </p:cNvPr>
          <p:cNvGrpSpPr/>
          <p:nvPr/>
        </p:nvGrpSpPr>
        <p:grpSpPr>
          <a:xfrm>
            <a:off x="898070" y="1969599"/>
            <a:ext cx="10397939" cy="4514851"/>
            <a:chOff x="898070" y="1969599"/>
            <a:chExt cx="10397939" cy="4514851"/>
          </a:xfrm>
        </p:grpSpPr>
        <p:graphicFrame>
          <p:nvGraphicFramePr>
            <p:cNvPr id="11" name="Chart 10">
              <a:extLst>
                <a:ext uri="{FF2B5EF4-FFF2-40B4-BE49-F238E27FC236}">
                  <a16:creationId xmlns:a16="http://schemas.microsoft.com/office/drawing/2014/main" id="{B86F5A43-83AB-0D3F-4A7D-CDF728B299BD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3388886039"/>
                </p:ext>
              </p:extLst>
            </p:nvPr>
          </p:nvGraphicFramePr>
          <p:xfrm>
            <a:off x="1612009" y="1969599"/>
            <a:ext cx="9684000" cy="451485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graphicFrame>
          <p:nvGraphicFramePr>
            <p:cNvPr id="10" name="Chart 9">
              <a:extLst>
                <a:ext uri="{FF2B5EF4-FFF2-40B4-BE49-F238E27FC236}">
                  <a16:creationId xmlns:a16="http://schemas.microsoft.com/office/drawing/2014/main" id="{27CD39A9-E0E3-4964-A8AC-077A4F654A8E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1892329219"/>
                </p:ext>
              </p:extLst>
            </p:nvPr>
          </p:nvGraphicFramePr>
          <p:xfrm>
            <a:off x="898070" y="2192227"/>
            <a:ext cx="9828430" cy="343575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5"/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1998075654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E219E4-F327-2C97-43F3-83768DAB18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6CFBA07-2D32-DA99-DAF6-D06070382B00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565DA9F-EDC1-6D51-3032-EE9B04C27F37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CA54F457-F65E-8021-5E52-0CF39E1D32C3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AA31700-D135-6780-5730-BBF0554D1A9E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018 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A601A4FA-6B34-3B7F-7098-2CCC4C6956CC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5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Suivre les prix psychologiques</a:t>
            </a:r>
            <a:endParaRPr lang="fr-FR" sz="28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479C9B74-DB15-23D9-BA71-80378629640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D979170-A4F1-B1F0-F5A3-7436DABBA233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Certains seuils psychologiques ont-ils été franchis par Gin Bombay Sapphire East 70cl sur la période ? 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6FF11D61-CA22-AC7F-A61B-3A1F499A4B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69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BA21C56-BB87-E073-47D6-84A22701D5F3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0FD67726-03C9-01B0-95E8-C103F5F1F8AC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Fréquence de franchissement de seuil psychologique (1€, 5€, 10€) à la hausse ou à la baisse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70EFD7C8-ED36-E2C0-B231-24569083C6AB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Gin Bombay Sapphire East 70cl 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F32B643C-8B57-8B4B-FE65-C15D6CBB57E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8071" y="2243165"/>
            <a:ext cx="10578576" cy="3855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399541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01FEDA4-6E4E-ADF9-6788-B74CA3373E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A73CBEA5-86A9-02C5-9BD9-29B41577D806}"/>
              </a:ext>
            </a:extLst>
          </p:cNvPr>
          <p:cNvGrpSpPr/>
          <p:nvPr/>
        </p:nvGrpSpPr>
        <p:grpSpPr>
          <a:xfrm>
            <a:off x="-1" y="0"/>
            <a:ext cx="6223001" cy="6858000"/>
            <a:chOff x="-1" y="0"/>
            <a:chExt cx="6544733" cy="6858000"/>
          </a:xfrm>
        </p:grpSpPr>
        <p:pic>
          <p:nvPicPr>
            <p:cNvPr id="4" name="Picture 3" descr="Person at the peak of a mountain">
              <a:extLst>
                <a:ext uri="{FF2B5EF4-FFF2-40B4-BE49-F238E27FC236}">
                  <a16:creationId xmlns:a16="http://schemas.microsoft.com/office/drawing/2014/main" id="{AD33A3E6-F5E6-3095-D559-5769384E149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131" r="17695"/>
            <a:stretch/>
          </p:blipFill>
          <p:spPr>
            <a:xfrm>
              <a:off x="0" y="0"/>
              <a:ext cx="6544732" cy="6858000"/>
            </a:xfrm>
            <a:prstGeom prst="rect">
              <a:avLst/>
            </a:prstGeom>
            <a:effectLst>
              <a:innerShdw blurRad="63500" dist="50800">
                <a:prstClr val="black">
                  <a:alpha val="50000"/>
                </a:prstClr>
              </a:innerShdw>
            </a:effectLst>
          </p:spPr>
        </p:pic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33616866-9108-1250-2492-D155A798FF25}"/>
                </a:ext>
              </a:extLst>
            </p:cNvPr>
            <p:cNvSpPr/>
            <p:nvPr/>
          </p:nvSpPr>
          <p:spPr>
            <a:xfrm>
              <a:off x="-1" y="0"/>
              <a:ext cx="6544733" cy="6858000"/>
            </a:xfrm>
            <a:prstGeom prst="rect">
              <a:avLst/>
            </a:prstGeom>
            <a:solidFill>
              <a:srgbClr val="303237">
                <a:alpha val="69804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ctr"/>
              <a:endParaRPr lang="en-US" sz="1600" b="1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9B42406-13BF-E808-AA8B-BD3D10AD398C}"/>
              </a:ext>
            </a:extLst>
          </p:cNvPr>
          <p:cNvGrpSpPr/>
          <p:nvPr/>
        </p:nvGrpSpPr>
        <p:grpSpPr>
          <a:xfrm>
            <a:off x="6565206" y="274138"/>
            <a:ext cx="5278887" cy="6343589"/>
            <a:chOff x="6565206" y="274138"/>
            <a:chExt cx="5278887" cy="6343589"/>
          </a:xfrm>
        </p:grpSpPr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84C0CAC1-7002-B9C4-4DF9-66C059C80770}"/>
                </a:ext>
              </a:extLst>
            </p:cNvPr>
            <p:cNvGrpSpPr/>
            <p:nvPr/>
          </p:nvGrpSpPr>
          <p:grpSpPr>
            <a:xfrm>
              <a:off x="6565206" y="274138"/>
              <a:ext cx="5278887" cy="6343589"/>
              <a:chOff x="6565206" y="-564065"/>
              <a:chExt cx="5278887" cy="6343589"/>
            </a:xfrm>
          </p:grpSpPr>
          <p:pic>
            <p:nvPicPr>
              <p:cNvPr id="91" name="Picture 90">
                <a:extLst>
                  <a:ext uri="{FF2B5EF4-FFF2-40B4-BE49-F238E27FC236}">
                    <a16:creationId xmlns:a16="http://schemas.microsoft.com/office/drawing/2014/main" id="{1797C0AE-F018-D1BC-9797-E2177F5D55F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6565206" y="-564065"/>
                <a:ext cx="2517866" cy="1420491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97" name="Picture 96">
                <a:extLst>
                  <a:ext uri="{FF2B5EF4-FFF2-40B4-BE49-F238E27FC236}">
                    <a16:creationId xmlns:a16="http://schemas.microsoft.com/office/drawing/2014/main" id="{7147D9A5-FCB4-04B9-1798-F8A271DE5EB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9326227" y="2718001"/>
                <a:ext cx="2517866" cy="1420491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103" name="Picture 102">
                <a:extLst>
                  <a:ext uri="{FF2B5EF4-FFF2-40B4-BE49-F238E27FC236}">
                    <a16:creationId xmlns:a16="http://schemas.microsoft.com/office/drawing/2014/main" id="{C2896E51-9BAD-88FC-CB50-292E93C496A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6565206" y="1076968"/>
                <a:ext cx="2517866" cy="1420491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105" name="Picture 104">
                <a:extLst>
                  <a:ext uri="{FF2B5EF4-FFF2-40B4-BE49-F238E27FC236}">
                    <a16:creationId xmlns:a16="http://schemas.microsoft.com/office/drawing/2014/main" id="{3DF92AF9-87FF-6AA2-800C-3FF309AE187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9326227" y="-564065"/>
                <a:ext cx="2517866" cy="1420491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106" name="Picture 105">
                <a:extLst>
                  <a:ext uri="{FF2B5EF4-FFF2-40B4-BE49-F238E27FC236}">
                    <a16:creationId xmlns:a16="http://schemas.microsoft.com/office/drawing/2014/main" id="{2713D219-E57C-F177-C115-7FE3AA2B2FF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9326227" y="1076968"/>
                <a:ext cx="2517866" cy="1420491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107" name="Picture 106">
                <a:extLst>
                  <a:ext uri="{FF2B5EF4-FFF2-40B4-BE49-F238E27FC236}">
                    <a16:creationId xmlns:a16="http://schemas.microsoft.com/office/drawing/2014/main" id="{253FCFA2-956C-CBD0-7627-AC5899E749D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6565206" y="2718001"/>
                <a:ext cx="2517866" cy="1420491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108" name="Picture 107">
                <a:extLst>
                  <a:ext uri="{FF2B5EF4-FFF2-40B4-BE49-F238E27FC236}">
                    <a16:creationId xmlns:a16="http://schemas.microsoft.com/office/drawing/2014/main" id="{1985B41A-513B-16F9-F39D-0509F0E30BC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6565206" y="4359033"/>
                <a:ext cx="2517866" cy="1420491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</p:grpSp>
        <p:pic>
          <p:nvPicPr>
            <p:cNvPr id="35" name="Picture 34">
              <a:extLst>
                <a:ext uri="{FF2B5EF4-FFF2-40B4-BE49-F238E27FC236}">
                  <a16:creationId xmlns:a16="http://schemas.microsoft.com/office/drawing/2014/main" id="{D9E4A210-68F9-AE6E-93F9-59ABCF46F687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9326227" y="5197236"/>
              <a:ext cx="2517866" cy="1420491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79" name="Rectangle 78">
            <a:extLst>
              <a:ext uri="{FF2B5EF4-FFF2-40B4-BE49-F238E27FC236}">
                <a16:creationId xmlns:a16="http://schemas.microsoft.com/office/drawing/2014/main" id="{0CCD31B1-01B0-5BDA-C08D-E1BD48253DD1}"/>
              </a:ext>
            </a:extLst>
          </p:cNvPr>
          <p:cNvSpPr/>
          <p:nvPr/>
        </p:nvSpPr>
        <p:spPr>
          <a:xfrm>
            <a:off x="6228584" y="0"/>
            <a:ext cx="5963416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2000">
                <a:srgbClr val="FFFFFF">
                  <a:alpha val="70000"/>
                </a:srgbClr>
              </a:gs>
              <a:gs pos="43000">
                <a:schemeClr val="bg1">
                  <a:alpha val="50000"/>
                </a:schemeClr>
              </a:gs>
              <a:gs pos="65000">
                <a:schemeClr val="bg1">
                  <a:shade val="100000"/>
                  <a:satMod val="115000"/>
                  <a:alpha val="97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F287173-4876-6301-1BE3-2B1678897283}"/>
              </a:ext>
            </a:extLst>
          </p:cNvPr>
          <p:cNvSpPr txBox="1"/>
          <p:nvPr/>
        </p:nvSpPr>
        <p:spPr>
          <a:xfrm>
            <a:off x="919950" y="295594"/>
            <a:ext cx="5065480" cy="833178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2400" b="1" dirty="0">
                <a:solidFill>
                  <a:schemeClr val="bg1"/>
                </a:solidFill>
                <a:latin typeface="Aptos Black" panose="020B0004020202020204" pitchFamily="34" charset="0"/>
              </a:rPr>
              <a:t>Cette étude vise à identifier le potentiel sur les 5 piliers suivants</a:t>
            </a:r>
            <a:endParaRPr lang="fr-FR" sz="2800" b="1" dirty="0">
              <a:solidFill>
                <a:schemeClr val="bg1"/>
              </a:solidFill>
              <a:latin typeface="Aptos Black" panose="020B00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E068CA5-A4F9-0276-9A2C-1133BA084546}"/>
              </a:ext>
            </a:extLst>
          </p:cNvPr>
          <p:cNvSpPr/>
          <p:nvPr/>
        </p:nvSpPr>
        <p:spPr>
          <a:xfrm>
            <a:off x="343433" y="6020919"/>
            <a:ext cx="5637523" cy="6476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600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L’analyse détaillée porte sur la </a:t>
            </a:r>
            <a:r>
              <a:rPr lang="fr-FR" sz="1600" b="1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erformance du dernier trimestre</a:t>
            </a:r>
            <a:r>
              <a:rPr lang="fr-FR" sz="1600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, l’interprétation devra être affinée avec </a:t>
            </a:r>
            <a:r>
              <a:rPr lang="fr-FR" sz="1600" b="1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vos équipes</a:t>
            </a:r>
            <a:r>
              <a:rPr lang="fr-FR" sz="1600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.</a:t>
            </a:r>
            <a:endParaRPr lang="fr-FR" sz="1600" b="1" dirty="0">
              <a:solidFill>
                <a:schemeClr val="accent1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702C16F-AF46-8050-5AD7-0F90F1735767}"/>
              </a:ext>
            </a:extLst>
          </p:cNvPr>
          <p:cNvSpPr/>
          <p:nvPr/>
        </p:nvSpPr>
        <p:spPr>
          <a:xfrm>
            <a:off x="6651769" y="4102587"/>
            <a:ext cx="5340523" cy="2696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2000" b="1" dirty="0">
                <a:solidFill>
                  <a:schemeClr val="tx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OBJECTIFS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BBBF6753-7779-FAAD-337B-A220B647973C}"/>
              </a:ext>
            </a:extLst>
          </p:cNvPr>
          <p:cNvGrpSpPr/>
          <p:nvPr/>
        </p:nvGrpSpPr>
        <p:grpSpPr>
          <a:xfrm>
            <a:off x="6651769" y="4466062"/>
            <a:ext cx="5340523" cy="647671"/>
            <a:chOff x="6651769" y="5185421"/>
            <a:chExt cx="5340523" cy="647671"/>
          </a:xfrm>
        </p:grpSpPr>
        <p:pic>
          <p:nvPicPr>
            <p:cNvPr id="17" name="Graphic 16" descr="Badge Tick1 with solid fill">
              <a:extLst>
                <a:ext uri="{FF2B5EF4-FFF2-40B4-BE49-F238E27FC236}">
                  <a16:creationId xmlns:a16="http://schemas.microsoft.com/office/drawing/2014/main" id="{351A7AAD-40C2-2671-C579-248CDCE577FA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6651769" y="5320256"/>
              <a:ext cx="378000" cy="378000"/>
            </a:xfrm>
            <a:prstGeom prst="rect">
              <a:avLst/>
            </a:prstGeom>
          </p:spPr>
        </p:pic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92623F74-A503-82F5-E907-9D64B877EC4A}"/>
                </a:ext>
              </a:extLst>
            </p:cNvPr>
            <p:cNvSpPr/>
            <p:nvPr/>
          </p:nvSpPr>
          <p:spPr>
            <a:xfrm>
              <a:off x="7158667" y="5185421"/>
              <a:ext cx="4833625" cy="64767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600" b="1" dirty="0">
                  <a:solidFill>
                    <a:schemeClr val="accent6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Comprendre </a:t>
              </a:r>
              <a:r>
                <a:rPr lang="fr-FR" sz="1600" dirty="0">
                  <a:solidFill>
                    <a:schemeClr val="tx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les dynamiques concurrentielles et la stratégie du distributeur sur les derniers mois.</a:t>
              </a: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1C2B9737-A313-5ED4-A509-E1DE425C980A}"/>
              </a:ext>
            </a:extLst>
          </p:cNvPr>
          <p:cNvGrpSpPr/>
          <p:nvPr/>
        </p:nvGrpSpPr>
        <p:grpSpPr>
          <a:xfrm>
            <a:off x="6651769" y="5921092"/>
            <a:ext cx="5340523" cy="647671"/>
            <a:chOff x="6651769" y="5921092"/>
            <a:chExt cx="5340523" cy="647671"/>
          </a:xfrm>
        </p:grpSpPr>
        <p:pic>
          <p:nvPicPr>
            <p:cNvPr id="24" name="Graphic 23" descr="Badge Tick1 with solid fill">
              <a:extLst>
                <a:ext uri="{FF2B5EF4-FFF2-40B4-BE49-F238E27FC236}">
                  <a16:creationId xmlns:a16="http://schemas.microsoft.com/office/drawing/2014/main" id="{BB557C26-DB39-4B58-DC33-07114E5A694A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6651769" y="6055927"/>
              <a:ext cx="378000" cy="378000"/>
            </a:xfrm>
            <a:prstGeom prst="rect">
              <a:avLst/>
            </a:prstGeom>
          </p:spPr>
        </p:pic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7C15B989-9880-16FB-439E-99A3700A591E}"/>
                </a:ext>
              </a:extLst>
            </p:cNvPr>
            <p:cNvSpPr/>
            <p:nvPr/>
          </p:nvSpPr>
          <p:spPr>
            <a:xfrm>
              <a:off x="7158667" y="5921092"/>
              <a:ext cx="4833625" cy="64767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600" b="1" dirty="0">
                  <a:solidFill>
                    <a:schemeClr val="accent6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Orienter et prioriser </a:t>
              </a:r>
              <a:r>
                <a:rPr lang="fr-FR" sz="1600" dirty="0">
                  <a:solidFill>
                    <a:schemeClr val="tx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les efforts stratégiques et opérationnels pour saisir les bonnes opportunités.</a:t>
              </a:r>
              <a:endParaRPr lang="fr-FR" sz="1600" b="1" dirty="0">
                <a:solidFill>
                  <a:schemeClr val="tx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75A9292E-A484-8B14-CC6E-C3386B3C3D6D}"/>
              </a:ext>
            </a:extLst>
          </p:cNvPr>
          <p:cNvGrpSpPr/>
          <p:nvPr/>
        </p:nvGrpSpPr>
        <p:grpSpPr>
          <a:xfrm>
            <a:off x="6651769" y="5193577"/>
            <a:ext cx="5340523" cy="647671"/>
            <a:chOff x="6651769" y="4449750"/>
            <a:chExt cx="5340523" cy="647671"/>
          </a:xfrm>
        </p:grpSpPr>
        <p:pic>
          <p:nvPicPr>
            <p:cNvPr id="33" name="Graphic 32" descr="Badge Tick1 with solid fill">
              <a:extLst>
                <a:ext uri="{FF2B5EF4-FFF2-40B4-BE49-F238E27FC236}">
                  <a16:creationId xmlns:a16="http://schemas.microsoft.com/office/drawing/2014/main" id="{072568B7-10E0-C1C3-C547-E26223EF8E68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6651769" y="4584585"/>
              <a:ext cx="378000" cy="378000"/>
            </a:xfrm>
            <a:prstGeom prst="rect">
              <a:avLst/>
            </a:prstGeom>
          </p:spPr>
        </p:pic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D9994438-DEBD-AD00-9FF5-EECC676212D2}"/>
                </a:ext>
              </a:extLst>
            </p:cNvPr>
            <p:cNvSpPr/>
            <p:nvPr/>
          </p:nvSpPr>
          <p:spPr>
            <a:xfrm>
              <a:off x="7158667" y="4449750"/>
              <a:ext cx="4833625" cy="64767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600" b="1" dirty="0">
                  <a:solidFill>
                    <a:schemeClr val="accent6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Évaluer </a:t>
              </a:r>
              <a:r>
                <a:rPr lang="fr-FR" sz="1600" b="1" dirty="0">
                  <a:solidFill>
                    <a:schemeClr val="tx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 </a:t>
              </a:r>
              <a:r>
                <a:rPr lang="fr-FR" sz="1600" dirty="0">
                  <a:solidFill>
                    <a:schemeClr val="tx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la performance de votre marque par rapport à ses concurrents directs chez le distributeur.</a:t>
              </a:r>
              <a:endParaRPr lang="fr-FR" sz="1600" b="1" dirty="0">
                <a:solidFill>
                  <a:schemeClr val="tx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734BEF78-71FC-DB18-32EF-D35EA8F78434}"/>
              </a:ext>
            </a:extLst>
          </p:cNvPr>
          <p:cNvGrpSpPr/>
          <p:nvPr/>
        </p:nvGrpSpPr>
        <p:grpSpPr>
          <a:xfrm>
            <a:off x="642928" y="1396230"/>
            <a:ext cx="4784203" cy="4444342"/>
            <a:chOff x="642928" y="1280970"/>
            <a:chExt cx="4784203" cy="4444342"/>
          </a:xfrm>
        </p:grpSpPr>
        <p:sp>
          <p:nvSpPr>
            <p:cNvPr id="13" name="Free-form: Shape 12">
              <a:extLst>
                <a:ext uri="{FF2B5EF4-FFF2-40B4-BE49-F238E27FC236}">
                  <a16:creationId xmlns:a16="http://schemas.microsoft.com/office/drawing/2014/main" id="{D3165572-839B-DD82-8621-01D4DF3D104F}"/>
                </a:ext>
              </a:extLst>
            </p:cNvPr>
            <p:cNvSpPr/>
            <p:nvPr/>
          </p:nvSpPr>
          <p:spPr>
            <a:xfrm>
              <a:off x="2182482" y="2688349"/>
              <a:ext cx="1870594" cy="1865610"/>
            </a:xfrm>
            <a:custGeom>
              <a:avLst/>
              <a:gdLst>
                <a:gd name="connsiteX0" fmla="*/ 93921 w 1870594"/>
                <a:gd name="connsiteY0" fmla="*/ 1275218 h 1865610"/>
                <a:gd name="connsiteX1" fmla="*/ 98049 w 1870594"/>
                <a:gd name="connsiteY1" fmla="*/ 1286495 h 1865610"/>
                <a:gd name="connsiteX2" fmla="*/ 752172 w 1870594"/>
                <a:gd name="connsiteY2" fmla="*/ 1823000 h 1865610"/>
                <a:gd name="connsiteX3" fmla="*/ 837169 w 1870594"/>
                <a:gd name="connsiteY3" fmla="*/ 1835972 h 1865610"/>
                <a:gd name="connsiteX4" fmla="*/ 838653 w 1870594"/>
                <a:gd name="connsiteY4" fmla="*/ 1865610 h 1865610"/>
                <a:gd name="connsiteX5" fmla="*/ 746802 w 1870594"/>
                <a:gd name="connsiteY5" fmla="*/ 1851592 h 1865610"/>
                <a:gd name="connsiteX6" fmla="*/ 73501 w 1870594"/>
                <a:gd name="connsiteY6" fmla="*/ 1299357 h 1865610"/>
                <a:gd name="connsiteX7" fmla="*/ 67398 w 1870594"/>
                <a:gd name="connsiteY7" fmla="*/ 1282683 h 1865610"/>
                <a:gd name="connsiteX8" fmla="*/ 1776673 w 1870594"/>
                <a:gd name="connsiteY8" fmla="*/ 1275217 h 1865610"/>
                <a:gd name="connsiteX9" fmla="*/ 1803197 w 1870594"/>
                <a:gd name="connsiteY9" fmla="*/ 1282683 h 1865610"/>
                <a:gd name="connsiteX10" fmla="*/ 1797094 w 1870594"/>
                <a:gd name="connsiteY10" fmla="*/ 1299357 h 1865610"/>
                <a:gd name="connsiteX11" fmla="*/ 1123792 w 1870594"/>
                <a:gd name="connsiteY11" fmla="*/ 1851592 h 1865610"/>
                <a:gd name="connsiteX12" fmla="*/ 1031941 w 1870594"/>
                <a:gd name="connsiteY12" fmla="*/ 1865610 h 1865610"/>
                <a:gd name="connsiteX13" fmla="*/ 1033425 w 1870594"/>
                <a:gd name="connsiteY13" fmla="*/ 1835972 h 1865610"/>
                <a:gd name="connsiteX14" fmla="*/ 1118423 w 1870594"/>
                <a:gd name="connsiteY14" fmla="*/ 1823000 h 1865610"/>
                <a:gd name="connsiteX15" fmla="*/ 1772545 w 1870594"/>
                <a:gd name="connsiteY15" fmla="*/ 1286495 h 1865610"/>
                <a:gd name="connsiteX16" fmla="*/ 1521387 w 1870594"/>
                <a:gd name="connsiteY16" fmla="*/ 211843 h 1865610"/>
                <a:gd name="connsiteX17" fmla="*/ 1596652 w 1870594"/>
                <a:gd name="connsiteY17" fmla="*/ 273942 h 1865610"/>
                <a:gd name="connsiteX18" fmla="*/ 1870594 w 1870594"/>
                <a:gd name="connsiteY18" fmla="*/ 935297 h 1865610"/>
                <a:gd name="connsiteX19" fmla="*/ 1865765 w 1870594"/>
                <a:gd name="connsiteY19" fmla="*/ 1030926 h 1865610"/>
                <a:gd name="connsiteX20" fmla="*/ 1857090 w 1870594"/>
                <a:gd name="connsiteY20" fmla="*/ 1087770 h 1865610"/>
                <a:gd name="connsiteX21" fmla="*/ 1831375 w 1870594"/>
                <a:gd name="connsiteY21" fmla="*/ 1077383 h 1865610"/>
                <a:gd name="connsiteX22" fmla="*/ 1839261 w 1870594"/>
                <a:gd name="connsiteY22" fmla="*/ 1025710 h 1865610"/>
                <a:gd name="connsiteX23" fmla="*/ 1843952 w 1870594"/>
                <a:gd name="connsiteY23" fmla="*/ 932805 h 1865610"/>
                <a:gd name="connsiteX24" fmla="*/ 1577813 w 1870594"/>
                <a:gd name="connsiteY24" fmla="*/ 290289 h 1865610"/>
                <a:gd name="connsiteX25" fmla="*/ 1508344 w 1870594"/>
                <a:gd name="connsiteY25" fmla="*/ 232972 h 1865610"/>
                <a:gd name="connsiteX26" fmla="*/ 349208 w 1870594"/>
                <a:gd name="connsiteY26" fmla="*/ 211843 h 1865610"/>
                <a:gd name="connsiteX27" fmla="*/ 362251 w 1870594"/>
                <a:gd name="connsiteY27" fmla="*/ 232972 h 1865610"/>
                <a:gd name="connsiteX28" fmla="*/ 292781 w 1870594"/>
                <a:gd name="connsiteY28" fmla="*/ 290289 h 1865610"/>
                <a:gd name="connsiteX29" fmla="*/ 26642 w 1870594"/>
                <a:gd name="connsiteY29" fmla="*/ 932805 h 1865610"/>
                <a:gd name="connsiteX30" fmla="*/ 31333 w 1870594"/>
                <a:gd name="connsiteY30" fmla="*/ 1025710 h 1865610"/>
                <a:gd name="connsiteX31" fmla="*/ 39220 w 1870594"/>
                <a:gd name="connsiteY31" fmla="*/ 1077383 h 1865610"/>
                <a:gd name="connsiteX32" fmla="*/ 13504 w 1870594"/>
                <a:gd name="connsiteY32" fmla="*/ 1087770 h 1865610"/>
                <a:gd name="connsiteX33" fmla="*/ 4829 w 1870594"/>
                <a:gd name="connsiteY33" fmla="*/ 1030926 h 1865610"/>
                <a:gd name="connsiteX34" fmla="*/ 0 w 1870594"/>
                <a:gd name="connsiteY34" fmla="*/ 935297 h 1865610"/>
                <a:gd name="connsiteX35" fmla="*/ 273942 w 1870594"/>
                <a:gd name="connsiteY35" fmla="*/ 273942 h 1865610"/>
                <a:gd name="connsiteX36" fmla="*/ 935297 w 1870594"/>
                <a:gd name="connsiteY36" fmla="*/ 0 h 1865610"/>
                <a:gd name="connsiteX37" fmla="*/ 1299357 w 1870594"/>
                <a:gd name="connsiteY37" fmla="*/ 73501 h 1865610"/>
                <a:gd name="connsiteX38" fmla="*/ 1350022 w 1870594"/>
                <a:gd name="connsiteY38" fmla="*/ 97907 h 1865610"/>
                <a:gd name="connsiteX39" fmla="*/ 1334820 w 1870594"/>
                <a:gd name="connsiteY39" fmla="*/ 117636 h 1865610"/>
                <a:gd name="connsiteX40" fmla="*/ 1288987 w 1870594"/>
                <a:gd name="connsiteY40" fmla="*/ 95557 h 1865610"/>
                <a:gd name="connsiteX41" fmla="*/ 935297 w 1870594"/>
                <a:gd name="connsiteY41" fmla="*/ 24150 h 1865610"/>
                <a:gd name="connsiteX42" fmla="*/ 581608 w 1870594"/>
                <a:gd name="connsiteY42" fmla="*/ 95557 h 1865610"/>
                <a:gd name="connsiteX43" fmla="*/ 535774 w 1870594"/>
                <a:gd name="connsiteY43" fmla="*/ 117636 h 1865610"/>
                <a:gd name="connsiteX44" fmla="*/ 520572 w 1870594"/>
                <a:gd name="connsiteY44" fmla="*/ 97907 h 1865610"/>
                <a:gd name="connsiteX45" fmla="*/ 571238 w 1870594"/>
                <a:gd name="connsiteY45" fmla="*/ 73501 h 1865610"/>
                <a:gd name="connsiteX46" fmla="*/ 935297 w 1870594"/>
                <a:gd name="connsiteY46" fmla="*/ 0 h 1865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870594" h="1865610">
                  <a:moveTo>
                    <a:pt x="93921" y="1275218"/>
                  </a:moveTo>
                  <a:lnTo>
                    <a:pt x="98049" y="1286495"/>
                  </a:lnTo>
                  <a:cubicBezTo>
                    <a:pt x="213000" y="1558270"/>
                    <a:pt x="456415" y="1762479"/>
                    <a:pt x="752172" y="1823000"/>
                  </a:cubicBezTo>
                  <a:lnTo>
                    <a:pt x="837169" y="1835972"/>
                  </a:lnTo>
                  <a:lnTo>
                    <a:pt x="838653" y="1865610"/>
                  </a:lnTo>
                  <a:lnTo>
                    <a:pt x="746802" y="1851592"/>
                  </a:lnTo>
                  <a:cubicBezTo>
                    <a:pt x="442375" y="1789297"/>
                    <a:pt x="191822" y="1579100"/>
                    <a:pt x="73501" y="1299357"/>
                  </a:cubicBezTo>
                  <a:lnTo>
                    <a:pt x="67398" y="1282683"/>
                  </a:lnTo>
                  <a:close/>
                  <a:moveTo>
                    <a:pt x="1776673" y="1275217"/>
                  </a:moveTo>
                  <a:lnTo>
                    <a:pt x="1803197" y="1282683"/>
                  </a:lnTo>
                  <a:lnTo>
                    <a:pt x="1797094" y="1299357"/>
                  </a:lnTo>
                  <a:cubicBezTo>
                    <a:pt x="1678772" y="1579100"/>
                    <a:pt x="1428220" y="1789297"/>
                    <a:pt x="1123792" y="1851592"/>
                  </a:cubicBezTo>
                  <a:lnTo>
                    <a:pt x="1031941" y="1865610"/>
                  </a:lnTo>
                  <a:lnTo>
                    <a:pt x="1033425" y="1835972"/>
                  </a:lnTo>
                  <a:lnTo>
                    <a:pt x="1118423" y="1823000"/>
                  </a:lnTo>
                  <a:cubicBezTo>
                    <a:pt x="1414179" y="1762479"/>
                    <a:pt x="1657594" y="1558270"/>
                    <a:pt x="1772545" y="1286495"/>
                  </a:cubicBezTo>
                  <a:close/>
                  <a:moveTo>
                    <a:pt x="1521387" y="211843"/>
                  </a:moveTo>
                  <a:lnTo>
                    <a:pt x="1596652" y="273942"/>
                  </a:lnTo>
                  <a:cubicBezTo>
                    <a:pt x="1765907" y="443198"/>
                    <a:pt x="1870594" y="677022"/>
                    <a:pt x="1870594" y="935297"/>
                  </a:cubicBezTo>
                  <a:cubicBezTo>
                    <a:pt x="1870594" y="967582"/>
                    <a:pt x="1868958" y="999484"/>
                    <a:pt x="1865765" y="1030926"/>
                  </a:cubicBezTo>
                  <a:lnTo>
                    <a:pt x="1857090" y="1087770"/>
                  </a:lnTo>
                  <a:lnTo>
                    <a:pt x="1831375" y="1077383"/>
                  </a:lnTo>
                  <a:lnTo>
                    <a:pt x="1839261" y="1025710"/>
                  </a:lnTo>
                  <a:cubicBezTo>
                    <a:pt x="1842363" y="995163"/>
                    <a:pt x="1843952" y="964170"/>
                    <a:pt x="1843952" y="932805"/>
                  </a:cubicBezTo>
                  <a:cubicBezTo>
                    <a:pt x="1843952" y="681887"/>
                    <a:pt x="1742247" y="454723"/>
                    <a:pt x="1577813" y="290289"/>
                  </a:cubicBezTo>
                  <a:lnTo>
                    <a:pt x="1508344" y="232972"/>
                  </a:lnTo>
                  <a:close/>
                  <a:moveTo>
                    <a:pt x="349208" y="211843"/>
                  </a:moveTo>
                  <a:lnTo>
                    <a:pt x="362251" y="232972"/>
                  </a:lnTo>
                  <a:lnTo>
                    <a:pt x="292781" y="290289"/>
                  </a:lnTo>
                  <a:cubicBezTo>
                    <a:pt x="128347" y="454723"/>
                    <a:pt x="26642" y="681887"/>
                    <a:pt x="26642" y="932805"/>
                  </a:cubicBezTo>
                  <a:cubicBezTo>
                    <a:pt x="26642" y="964170"/>
                    <a:pt x="28231" y="995163"/>
                    <a:pt x="31333" y="1025710"/>
                  </a:cubicBezTo>
                  <a:lnTo>
                    <a:pt x="39220" y="1077383"/>
                  </a:lnTo>
                  <a:lnTo>
                    <a:pt x="13504" y="1087770"/>
                  </a:lnTo>
                  <a:lnTo>
                    <a:pt x="4829" y="1030926"/>
                  </a:lnTo>
                  <a:cubicBezTo>
                    <a:pt x="1636" y="999484"/>
                    <a:pt x="0" y="967582"/>
                    <a:pt x="0" y="935297"/>
                  </a:cubicBezTo>
                  <a:cubicBezTo>
                    <a:pt x="0" y="677022"/>
                    <a:pt x="104687" y="443198"/>
                    <a:pt x="273942" y="273942"/>
                  </a:cubicBezTo>
                  <a:close/>
                  <a:moveTo>
                    <a:pt x="935297" y="0"/>
                  </a:moveTo>
                  <a:cubicBezTo>
                    <a:pt x="1064435" y="0"/>
                    <a:pt x="1187459" y="26172"/>
                    <a:pt x="1299357" y="73501"/>
                  </a:cubicBezTo>
                  <a:lnTo>
                    <a:pt x="1350022" y="97907"/>
                  </a:lnTo>
                  <a:lnTo>
                    <a:pt x="1334820" y="117636"/>
                  </a:lnTo>
                  <a:lnTo>
                    <a:pt x="1288987" y="95557"/>
                  </a:lnTo>
                  <a:cubicBezTo>
                    <a:pt x="1180277" y="49576"/>
                    <a:pt x="1060756" y="24150"/>
                    <a:pt x="935297" y="24150"/>
                  </a:cubicBezTo>
                  <a:cubicBezTo>
                    <a:pt x="809838" y="24150"/>
                    <a:pt x="690318" y="49576"/>
                    <a:pt x="581608" y="95557"/>
                  </a:cubicBezTo>
                  <a:lnTo>
                    <a:pt x="535774" y="117636"/>
                  </a:lnTo>
                  <a:lnTo>
                    <a:pt x="520572" y="97907"/>
                  </a:lnTo>
                  <a:lnTo>
                    <a:pt x="571238" y="73501"/>
                  </a:lnTo>
                  <a:cubicBezTo>
                    <a:pt x="683135" y="26172"/>
                    <a:pt x="806160" y="0"/>
                    <a:pt x="935297" y="0"/>
                  </a:cubicBezTo>
                  <a:close/>
                </a:path>
              </a:pathLst>
            </a:custGeom>
            <a:noFill/>
            <a:ln w="76200">
              <a:solidFill>
                <a:schemeClr val="bg1"/>
              </a:solidFill>
            </a:ln>
            <a:effectLst>
              <a:glow rad="101600">
                <a:schemeClr val="bg1">
                  <a:alpha val="40000"/>
                </a:schemeClr>
              </a:glo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l"/>
              <a:endParaRPr lang="en-US" sz="1600" b="1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4D835D3F-EB1F-0494-90BE-162113B93544}"/>
                </a:ext>
              </a:extLst>
            </p:cNvPr>
            <p:cNvSpPr/>
            <p:nvPr/>
          </p:nvSpPr>
          <p:spPr>
            <a:xfrm>
              <a:off x="2507407" y="3308984"/>
              <a:ext cx="1220743" cy="6293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fr-FR" sz="4400" b="1" dirty="0">
                  <a:solidFill>
                    <a:schemeClr val="bg1"/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360°</a:t>
              </a:r>
              <a:endParaRPr lang="en-US" sz="4400" b="1" dirty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C44C9D02-B185-E6FF-5515-1A8BE375E379}"/>
                </a:ext>
              </a:extLst>
            </p:cNvPr>
            <p:cNvSpPr/>
            <p:nvPr/>
          </p:nvSpPr>
          <p:spPr>
            <a:xfrm>
              <a:off x="642928" y="3178725"/>
              <a:ext cx="1458886" cy="6293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fr-FR" sz="1600" b="1" dirty="0">
                  <a:solidFill>
                    <a:schemeClr val="bg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Territoires commerciaux</a:t>
              </a:r>
              <a:endParaRPr lang="en-US" sz="1600" b="1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pic>
          <p:nvPicPr>
            <p:cNvPr id="21" name="Graphic 20" descr="Store with solid fill">
              <a:extLst>
                <a:ext uri="{FF2B5EF4-FFF2-40B4-BE49-F238E27FC236}">
                  <a16:creationId xmlns:a16="http://schemas.microsoft.com/office/drawing/2014/main" id="{5B0F4A8C-02C7-D50E-AD2F-6B6548A6141F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1103489" y="2686515"/>
              <a:ext cx="537762" cy="537762"/>
            </a:xfrm>
            <a:prstGeom prst="rect">
              <a:avLst/>
            </a:prstGeom>
          </p:spPr>
        </p:pic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063C74D1-F7BF-B4C6-9269-04675B2EF113}"/>
                </a:ext>
              </a:extLst>
            </p:cNvPr>
            <p:cNvSpPr/>
            <p:nvPr/>
          </p:nvSpPr>
          <p:spPr>
            <a:xfrm>
              <a:off x="1417976" y="5095986"/>
              <a:ext cx="1220744" cy="62932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fr-FR" sz="1600" b="1" dirty="0">
                  <a:solidFill>
                    <a:schemeClr val="bg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Remises et promotions</a:t>
              </a:r>
              <a:endParaRPr lang="en-US" sz="1600" b="1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pic>
          <p:nvPicPr>
            <p:cNvPr id="42" name="Graphic 41" descr="Minimise with solid fill">
              <a:extLst>
                <a:ext uri="{FF2B5EF4-FFF2-40B4-BE49-F238E27FC236}">
                  <a16:creationId xmlns:a16="http://schemas.microsoft.com/office/drawing/2014/main" id="{6F586E1B-B81C-CB25-BF28-E2E85EFF9785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1774427" y="4563618"/>
              <a:ext cx="507844" cy="507844"/>
            </a:xfrm>
            <a:prstGeom prst="rect">
              <a:avLst/>
            </a:prstGeom>
          </p:spPr>
        </p:pic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42400AA5-A28B-D262-9529-B933B6F60BC4}"/>
                </a:ext>
              </a:extLst>
            </p:cNvPr>
            <p:cNvSpPr/>
            <p:nvPr/>
          </p:nvSpPr>
          <p:spPr>
            <a:xfrm>
              <a:off x="3584276" y="5095986"/>
              <a:ext cx="1220744" cy="62932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fr-FR" sz="1600" b="1" dirty="0">
                  <a:solidFill>
                    <a:schemeClr val="bg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Stratégie </a:t>
              </a:r>
            </a:p>
            <a:p>
              <a:pPr algn="ctr"/>
              <a:r>
                <a:rPr lang="fr-FR" sz="1600" b="1" dirty="0">
                  <a:solidFill>
                    <a:schemeClr val="bg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prix</a:t>
              </a:r>
              <a:endParaRPr lang="en-US" sz="1600" b="1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pic>
          <p:nvPicPr>
            <p:cNvPr id="46" name="Graphic 45" descr="Tag with solid fill">
              <a:extLst>
                <a:ext uri="{FF2B5EF4-FFF2-40B4-BE49-F238E27FC236}">
                  <a16:creationId xmlns:a16="http://schemas.microsoft.com/office/drawing/2014/main" id="{4AE3F40D-15EA-5CAF-1DC3-B113900354D4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3931072" y="4528942"/>
              <a:ext cx="527152" cy="527152"/>
            </a:xfrm>
            <a:prstGeom prst="rect">
              <a:avLst/>
            </a:prstGeom>
          </p:spPr>
        </p:pic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B3C111E7-E601-D40B-F91B-339251FB9551}"/>
                </a:ext>
              </a:extLst>
            </p:cNvPr>
            <p:cNvSpPr/>
            <p:nvPr/>
          </p:nvSpPr>
          <p:spPr>
            <a:xfrm>
              <a:off x="4206386" y="3178725"/>
              <a:ext cx="1220745" cy="6293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fr-FR" sz="1600" b="1" dirty="0">
                  <a:solidFill>
                    <a:schemeClr val="bg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Disponibilité et ruptures</a:t>
              </a:r>
              <a:endParaRPr lang="en-US" sz="1600" b="1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pic>
          <p:nvPicPr>
            <p:cNvPr id="50" name="Graphic 49" descr="Customer review with solid fill">
              <a:extLst>
                <a:ext uri="{FF2B5EF4-FFF2-40B4-BE49-F238E27FC236}">
                  <a16:creationId xmlns:a16="http://schemas.microsoft.com/office/drawing/2014/main" id="{106DB740-5C46-0E93-5973-59F54DEF2878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4530873" y="2624788"/>
              <a:ext cx="571770" cy="571770"/>
            </a:xfrm>
            <a:prstGeom prst="rect">
              <a:avLst/>
            </a:prstGeom>
          </p:spPr>
        </p:pic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B0A980A3-58CB-262B-3EA2-4F56D113EF76}"/>
                </a:ext>
              </a:extLst>
            </p:cNvPr>
            <p:cNvSpPr/>
            <p:nvPr/>
          </p:nvSpPr>
          <p:spPr>
            <a:xfrm>
              <a:off x="2291924" y="1829351"/>
              <a:ext cx="1639148" cy="62932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fr-FR" sz="1600" b="1" dirty="0">
                  <a:solidFill>
                    <a:schemeClr val="bg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Distribution et assortiment</a:t>
              </a:r>
              <a:endParaRPr lang="en-US" sz="1600" b="1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pic>
          <p:nvPicPr>
            <p:cNvPr id="52" name="Graphic 51" descr="Flowchart with solid fill">
              <a:extLst>
                <a:ext uri="{FF2B5EF4-FFF2-40B4-BE49-F238E27FC236}">
                  <a16:creationId xmlns:a16="http://schemas.microsoft.com/office/drawing/2014/main" id="{082B96B5-5B4F-D04B-6B07-F64F940F309F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96DAC541-7B7A-43D3-8B79-37D633B846F1}">
                  <asvg:svgBlip xmlns:asvg="http://schemas.microsoft.com/office/drawing/2016/SVG/main" r:embed="rId23"/>
                </a:ext>
              </a:extLst>
            </a:blip>
            <a:stretch>
              <a:fillRect/>
            </a:stretch>
          </p:blipFill>
          <p:spPr>
            <a:xfrm>
              <a:off x="2805168" y="1280970"/>
              <a:ext cx="612662" cy="612662"/>
            </a:xfrm>
            <a:prstGeom prst="rect">
              <a:avLst/>
            </a:prstGeom>
          </p:spPr>
        </p:pic>
      </p:grpSp>
      <p:sp>
        <p:nvSpPr>
          <p:cNvPr id="53" name="Rectangle: Rounded Corners 52">
            <a:extLst>
              <a:ext uri="{FF2B5EF4-FFF2-40B4-BE49-F238E27FC236}">
                <a16:creationId xmlns:a16="http://schemas.microsoft.com/office/drawing/2014/main" id="{38F1AC3F-94CA-C66F-3EC6-227E0F14B40B}"/>
              </a:ext>
            </a:extLst>
          </p:cNvPr>
          <p:cNvSpPr/>
          <p:nvPr/>
        </p:nvSpPr>
        <p:spPr>
          <a:xfrm>
            <a:off x="449891" y="422833"/>
            <a:ext cx="226904" cy="226904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7509203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1FD8EF-0385-95E9-7942-A4774C1174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A4799ED-27EF-1D7C-C36D-46E228A09061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867A2E1-FB5A-FEB4-A44F-E2F2A5FCB3B2}"/>
              </a:ext>
            </a:extLst>
          </p:cNvPr>
          <p:cNvSpPr/>
          <p:nvPr/>
        </p:nvSpPr>
        <p:spPr>
          <a:xfrm>
            <a:off x="532932" y="1403928"/>
            <a:ext cx="6611020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A7037CEF-6A3B-8B55-2D2E-8445883B18D7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D096487-68CE-A93B-084A-3D5976E66B17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008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CA5DCC25-B3D1-A8DF-7250-DD2A95E6F16E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2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Différencier les prix</a:t>
            </a:r>
            <a:endParaRPr lang="fr-FR" sz="28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206BBB09-8192-B527-7E15-08DD3594033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6C94EF14-6A7E-B02E-F30C-B815C768E52C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La différenciation prix est elle suffisante par point de vente pour capturer les spécificités locales, sans dégrader le positionnement ?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68702A90-24F2-2DBD-3421-1E11CFC93E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70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947E554-0FF2-930D-E708-18108F2F775B}"/>
              </a:ext>
            </a:extLst>
          </p:cNvPr>
          <p:cNvGrpSpPr/>
          <p:nvPr/>
        </p:nvGrpSpPr>
        <p:grpSpPr>
          <a:xfrm>
            <a:off x="898071" y="1563201"/>
            <a:ext cx="580808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666258C3-07E1-BAFE-0A67-1735533D4E8E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Prix bas (P5), prix médian et prix haut (P95) pour les concurrents directs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C58BDF30-AB0D-D035-511D-E4DE7512EF76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3A3B3010-FB16-AC48-EF97-01F72634455D}"/>
              </a:ext>
            </a:extLst>
          </p:cNvPr>
          <p:cNvGrpSpPr/>
          <p:nvPr/>
        </p:nvGrpSpPr>
        <p:grpSpPr>
          <a:xfrm>
            <a:off x="892337" y="2183784"/>
            <a:ext cx="6078530" cy="3951212"/>
            <a:chOff x="892336" y="2183784"/>
            <a:chExt cx="11069005" cy="2570210"/>
          </a:xfrm>
        </p:grpSpPr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CD00D8AE-198B-15B4-FB28-19C91FD88827}"/>
                </a:ext>
              </a:extLst>
            </p:cNvPr>
            <p:cNvCxnSpPr/>
            <p:nvPr/>
          </p:nvCxnSpPr>
          <p:spPr>
            <a:xfrm>
              <a:off x="892336" y="2183784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A3999381-D577-846E-995F-3762EA84DF7B}"/>
                </a:ext>
              </a:extLst>
            </p:cNvPr>
            <p:cNvCxnSpPr/>
            <p:nvPr/>
          </p:nvCxnSpPr>
          <p:spPr>
            <a:xfrm>
              <a:off x="892336" y="2440805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C52EC12F-56A6-2D2C-CFE8-9B2B81AF3DF0}"/>
                </a:ext>
              </a:extLst>
            </p:cNvPr>
            <p:cNvCxnSpPr/>
            <p:nvPr/>
          </p:nvCxnSpPr>
          <p:spPr>
            <a:xfrm>
              <a:off x="892336" y="2697826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DCB06E6F-A311-4B89-669C-8E754BE59D49}"/>
                </a:ext>
              </a:extLst>
            </p:cNvPr>
            <p:cNvCxnSpPr/>
            <p:nvPr/>
          </p:nvCxnSpPr>
          <p:spPr>
            <a:xfrm>
              <a:off x="892336" y="2954847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9AA01F59-A6D3-A562-A4E6-BB301FCA8E6A}"/>
                </a:ext>
              </a:extLst>
            </p:cNvPr>
            <p:cNvCxnSpPr/>
            <p:nvPr/>
          </p:nvCxnSpPr>
          <p:spPr>
            <a:xfrm>
              <a:off x="892336" y="3211868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F16C2E13-8383-B1B0-8FE3-D0C111EE5C9D}"/>
                </a:ext>
              </a:extLst>
            </p:cNvPr>
            <p:cNvCxnSpPr/>
            <p:nvPr/>
          </p:nvCxnSpPr>
          <p:spPr>
            <a:xfrm>
              <a:off x="892336" y="3468889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E34164D0-0A0E-46D0-23EF-4F88C42E7B09}"/>
                </a:ext>
              </a:extLst>
            </p:cNvPr>
            <p:cNvCxnSpPr/>
            <p:nvPr/>
          </p:nvCxnSpPr>
          <p:spPr>
            <a:xfrm>
              <a:off x="892336" y="3725910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2D410177-11A7-094D-7E08-05300AFBA90C}"/>
                </a:ext>
              </a:extLst>
            </p:cNvPr>
            <p:cNvCxnSpPr/>
            <p:nvPr/>
          </p:nvCxnSpPr>
          <p:spPr>
            <a:xfrm>
              <a:off x="892336" y="3982931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89F3FC6C-A997-B2D3-F09C-0AC1AF60ABAE}"/>
                </a:ext>
              </a:extLst>
            </p:cNvPr>
            <p:cNvCxnSpPr/>
            <p:nvPr/>
          </p:nvCxnSpPr>
          <p:spPr>
            <a:xfrm>
              <a:off x="892336" y="4239952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74F87DDA-BA2E-5BFB-D927-8EAFD0878B4A}"/>
                </a:ext>
              </a:extLst>
            </p:cNvPr>
            <p:cNvCxnSpPr/>
            <p:nvPr/>
          </p:nvCxnSpPr>
          <p:spPr>
            <a:xfrm>
              <a:off x="892336" y="4496973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149EE8FB-5747-D261-9BD5-A72AD39A9FC3}"/>
                </a:ext>
              </a:extLst>
            </p:cNvPr>
            <p:cNvCxnSpPr/>
            <p:nvPr/>
          </p:nvCxnSpPr>
          <p:spPr>
            <a:xfrm>
              <a:off x="892336" y="4753994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90092B37-2E64-86F5-D699-8ECDB270E848}"/>
              </a:ext>
            </a:extLst>
          </p:cNvPr>
          <p:cNvGrpSpPr/>
          <p:nvPr/>
        </p:nvGrpSpPr>
        <p:grpSpPr>
          <a:xfrm>
            <a:off x="7563070" y="1563201"/>
            <a:ext cx="1441789" cy="534498"/>
            <a:chOff x="1050129" y="1563201"/>
            <a:chExt cx="4326467" cy="534498"/>
          </a:xfrm>
        </p:grpSpPr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F5AD4933-193D-ACF5-3EB4-2E399726321E}"/>
                </a:ext>
              </a:extLst>
            </p:cNvPr>
            <p:cNvSpPr txBox="1"/>
            <p:nvPr/>
          </p:nvSpPr>
          <p:spPr>
            <a:xfrm>
              <a:off x="1050132" y="1563201"/>
              <a:ext cx="3676925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Spread indice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62EF803A-C776-BB8D-3767-75B73776386D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dirty="0">
                  <a:latin typeface="Aptos" panose="020B0004020202020204" pitchFamily="34" charset="0"/>
                </a:rPr>
                <a:t>P95 / P05</a:t>
              </a:r>
            </a:p>
          </p:txBody>
        </p:sp>
      </p:grpSp>
      <p:sp>
        <p:nvSpPr>
          <p:cNvPr id="47" name="TextBox 46">
            <a:extLst>
              <a:ext uri="{FF2B5EF4-FFF2-40B4-BE49-F238E27FC236}">
                <a16:creationId xmlns:a16="http://schemas.microsoft.com/office/drawing/2014/main" id="{4A2887B4-64CC-F9AE-59BA-2F8B8AAAEEF3}"/>
              </a:ext>
            </a:extLst>
          </p:cNvPr>
          <p:cNvSpPr txBox="1"/>
          <p:nvPr/>
        </p:nvSpPr>
        <p:spPr>
          <a:xfrm>
            <a:off x="9875961" y="1563201"/>
            <a:ext cx="2059472" cy="525401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 dirty="0">
                <a:latin typeface="Aptos" panose="020B0004020202020204" pitchFamily="34" charset="0"/>
              </a:rPr>
              <a:t>Distribution numérique</a:t>
            </a:r>
          </a:p>
          <a:p>
            <a:endParaRPr lang="fr-FR" sz="1400" dirty="0">
              <a:latin typeface="Aptos" panose="020B0004020202020204" pitchFamily="34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C75AC298-19C0-DBFB-3F4B-71513940C6D9}"/>
              </a:ext>
            </a:extLst>
          </p:cNvPr>
          <p:cNvGrpSpPr/>
          <p:nvPr/>
        </p:nvGrpSpPr>
        <p:grpSpPr>
          <a:xfrm>
            <a:off x="7370203" y="2183784"/>
            <a:ext cx="4418053" cy="3951212"/>
            <a:chOff x="892336" y="2183784"/>
            <a:chExt cx="11069005" cy="2570210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04CF5E57-704A-C238-2250-FA5C506307E4}"/>
                </a:ext>
              </a:extLst>
            </p:cNvPr>
            <p:cNvCxnSpPr/>
            <p:nvPr/>
          </p:nvCxnSpPr>
          <p:spPr>
            <a:xfrm>
              <a:off x="892336" y="2183784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02A2150A-7FA6-1ECF-5B4A-2E999EC3BEDD}"/>
                </a:ext>
              </a:extLst>
            </p:cNvPr>
            <p:cNvCxnSpPr/>
            <p:nvPr/>
          </p:nvCxnSpPr>
          <p:spPr>
            <a:xfrm>
              <a:off x="892336" y="2440805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41967FAE-5B41-3CAA-5F62-A06F8E827620}"/>
                </a:ext>
              </a:extLst>
            </p:cNvPr>
            <p:cNvCxnSpPr/>
            <p:nvPr/>
          </p:nvCxnSpPr>
          <p:spPr>
            <a:xfrm>
              <a:off x="892336" y="2697826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5F7366C9-D0A0-EE1C-FC63-59F885A7DE9B}"/>
                </a:ext>
              </a:extLst>
            </p:cNvPr>
            <p:cNvCxnSpPr/>
            <p:nvPr/>
          </p:nvCxnSpPr>
          <p:spPr>
            <a:xfrm>
              <a:off x="892336" y="2954847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DFD366AB-E5AD-D35C-C207-F929B6C886ED}"/>
                </a:ext>
              </a:extLst>
            </p:cNvPr>
            <p:cNvCxnSpPr/>
            <p:nvPr/>
          </p:nvCxnSpPr>
          <p:spPr>
            <a:xfrm>
              <a:off x="892336" y="3211868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019FEF8E-F531-651F-06D6-62CAE0ED21B1}"/>
                </a:ext>
              </a:extLst>
            </p:cNvPr>
            <p:cNvCxnSpPr/>
            <p:nvPr/>
          </p:nvCxnSpPr>
          <p:spPr>
            <a:xfrm>
              <a:off x="892336" y="3468889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029553AC-6113-E230-C0BE-3D5D9268274C}"/>
                </a:ext>
              </a:extLst>
            </p:cNvPr>
            <p:cNvCxnSpPr/>
            <p:nvPr/>
          </p:nvCxnSpPr>
          <p:spPr>
            <a:xfrm>
              <a:off x="892336" y="3725910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8F0F90D9-5225-C111-768C-FCA126E73F3F}"/>
                </a:ext>
              </a:extLst>
            </p:cNvPr>
            <p:cNvCxnSpPr/>
            <p:nvPr/>
          </p:nvCxnSpPr>
          <p:spPr>
            <a:xfrm>
              <a:off x="892336" y="3982931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8EFB11F6-B333-3997-BD3E-7E20882FFE04}"/>
                </a:ext>
              </a:extLst>
            </p:cNvPr>
            <p:cNvCxnSpPr/>
            <p:nvPr/>
          </p:nvCxnSpPr>
          <p:spPr>
            <a:xfrm>
              <a:off x="892336" y="4239952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177DF115-098B-8132-4E5D-D6F3F4346619}"/>
                </a:ext>
              </a:extLst>
            </p:cNvPr>
            <p:cNvCxnSpPr/>
            <p:nvPr/>
          </p:nvCxnSpPr>
          <p:spPr>
            <a:xfrm>
              <a:off x="892336" y="4496973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2A999CD8-D36A-1272-2729-1130A2FC94EB}"/>
                </a:ext>
              </a:extLst>
            </p:cNvPr>
            <p:cNvCxnSpPr/>
            <p:nvPr/>
          </p:nvCxnSpPr>
          <p:spPr>
            <a:xfrm>
              <a:off x="892336" y="4753994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2" name="Picture 41">
            <a:extLst>
              <a:ext uri="{FF2B5EF4-FFF2-40B4-BE49-F238E27FC236}">
                <a16:creationId xmlns:a16="http://schemas.microsoft.com/office/drawing/2014/main" id="{1FC407C6-2E80-DD55-5A06-D3E1BD50E98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74610" y="2102209"/>
            <a:ext cx="1998322" cy="4130678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49A14F45-8DDE-9EEC-5C99-F36CBF29A11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728785" y="2102209"/>
            <a:ext cx="2059247" cy="4130678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97B22EE9-09C9-815E-DB35-EB5976AAC6C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6087" y="2088602"/>
            <a:ext cx="6401638" cy="4130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786649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E7C151-9AC7-BE4D-A046-F57C456A9E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48F728F-9E7C-C61E-BA7E-D7915F939C00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FCB6EC2-E950-B697-6DF9-DED862658D5D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1134A0D5-1CCD-FD67-3535-CA1D0EE92A29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ACFE1AC-9D3C-CAB7-D83F-D92A06600DFD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5 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468755DE-AFCD-E347-3774-C422D5A97782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1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Mesurer l’impact sur la distribution numérique</a:t>
            </a:r>
            <a:endParaRPr lang="fr-FR" sz="20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54CB99EF-51EB-2A1B-7E15-8595112F49A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5843494-2414-0A0D-0C95-E6AB4D6B5BA7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 a été l’impact des promotions pratiquées sur Bombay Sapphire Sunset 70cl chez Leclerc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11D69F91-7572-3CDC-A78C-10924D187B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71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BF5A6B5-9029-954E-953A-9B02E2BE7670}"/>
              </a:ext>
            </a:extLst>
          </p:cNvPr>
          <p:cNvGrpSpPr/>
          <p:nvPr/>
        </p:nvGrpSpPr>
        <p:grpSpPr>
          <a:xfrm>
            <a:off x="898070" y="1563201"/>
            <a:ext cx="5071726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D2CC5DF0-96C8-52C3-F391-060D880EAF05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Répartition des magasins en promotion (zoom : conquête)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5D2BC4A0-FCEF-0FB1-4C59-66197C6B6E5C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– Gagné dans les 15 jours avant la promo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D3D04DB2-89CF-17E2-B233-E1CB871C8F2D}"/>
              </a:ext>
            </a:extLst>
          </p:cNvPr>
          <p:cNvGrpSpPr/>
          <p:nvPr/>
        </p:nvGrpSpPr>
        <p:grpSpPr>
          <a:xfrm>
            <a:off x="6587340" y="1563201"/>
            <a:ext cx="5071726" cy="534498"/>
            <a:chOff x="1050129" y="1563201"/>
            <a:chExt cx="4326467" cy="534498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564CE0C9-F8BB-98D5-49B7-268B7108D550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Répartition des magasins en promotion (zoom : perdus)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D846434C-4A25-6D36-0CC1-B8C0BAC8CCE9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– Perdus dans les 15 jours après la promo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50EA800E-BCB9-0ADD-87EB-2E68E0D7166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41120" y="2213813"/>
            <a:ext cx="5074648" cy="408012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BB71CBAC-E22B-1ED5-C96E-E78B661DB34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8632" y="2213812"/>
            <a:ext cx="5073125" cy="4080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4826530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BE9519-A01F-06C3-C216-BB46A9C3E6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C799E25-7B48-13EA-584F-2E5123B55D4B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3A6BF6E-D1BC-A192-3243-18B960DD4F3B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AE552940-27FC-5F14-D023-266FA9541A3E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9737BCA-D7D0-9E73-1C0B-A2CE03A99026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8 </a:t>
            </a:r>
            <a:endParaRPr lang="fr-FR" sz="1100" dirty="0">
              <a:solidFill>
                <a:schemeClr val="accent3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8F20B770-9124-4CB0-EE29-462FF822504B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2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Contrôler l’exécution promotionnelle</a:t>
            </a:r>
            <a:endParaRPr lang="fr-FR" sz="20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A7942828-FD45-C8DC-F97B-23D0D14DDFB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6CD82506-BBCD-77C5-736E-A742E4359A79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 est l’impact de la promotion sur la mise en avant des produits de la catégorie Gin et du rayon Spiritueux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E7AD3571-8BE5-3AD5-43FF-2812D97D61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72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F2DD730-C4A0-9C71-1CF8-87575D282273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CC8C7833-1800-9853-746F-CE28BDA666E5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Évolution de la position moyenne des produits sur le site internet par magasins en promotion ou hors promotion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713C487-EA76-0D78-7D48-4D0050F2EB4F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17949129-25F0-B349-2F2E-2DF0AC381B2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8070" y="2142867"/>
            <a:ext cx="10452250" cy="41355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6476411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08AA8E-57B7-2926-F6F5-204631BF3E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DA466C4-9E79-B618-C16A-BBC3D5F5F4F5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EC4CB72-90CC-B1CE-7CB8-6ACF3FCB8F05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9C770460-0C89-AD26-EFE3-F8E359BFAD5F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1351E8C-E9E8-AC14-6762-DD9328D512B8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017 [@SUPR@]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5257FFBC-796C-2CB0-D7DB-EE280925F213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4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Corriger les incohérences</a:t>
            </a:r>
            <a:endParaRPr lang="fr-FR" sz="28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C3D73578-1180-8675-84C9-84A117E994E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92FDD229-2539-9CD4-B864-2323B1F20991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 est le prix relatif de Gin Bombay Sapphire 70cl vs Gin Bombay Sapphire 70cl dans chaque magasin où les 2 sont proposés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30FB10A2-7906-9B0E-4243-80B95FAD5D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73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935B858-61E5-7EB1-D296-3232DCDCCD2A}"/>
              </a:ext>
            </a:extLst>
          </p:cNvPr>
          <p:cNvGrpSpPr/>
          <p:nvPr/>
        </p:nvGrpSpPr>
        <p:grpSpPr>
          <a:xfrm>
            <a:off x="898070" y="1563201"/>
            <a:ext cx="7258959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EF96B2A7-A9ED-60CD-EA6A-FC69799B7465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Distribution prix par litre avant promotion de Bulldog 70Cl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25B54ADF-9943-DBA4-23FB-9A9C23DC96ED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11" name="Speech Bubble: Rectangle with Corners Rounded 10">
            <a:extLst>
              <a:ext uri="{FF2B5EF4-FFF2-40B4-BE49-F238E27FC236}">
                <a16:creationId xmlns:a16="http://schemas.microsoft.com/office/drawing/2014/main" id="{6FF70E69-338E-95ED-BC4D-882693502F4A}"/>
              </a:ext>
            </a:extLst>
          </p:cNvPr>
          <p:cNvSpPr/>
          <p:nvPr/>
        </p:nvSpPr>
        <p:spPr>
          <a:xfrm>
            <a:off x="10285995" y="2243165"/>
            <a:ext cx="1543328" cy="1423935"/>
          </a:xfrm>
          <a:prstGeom prst="wedgeRoundRectCallout">
            <a:avLst>
              <a:gd name="adj1" fmla="val -58508"/>
              <a:gd name="adj2" fmla="val 24705"/>
              <a:gd name="adj3" fmla="val 16667"/>
            </a:avLst>
          </a:prstGeom>
          <a:solidFill>
            <a:srgbClr val="FFFFFF">
              <a:alpha val="80000"/>
            </a:srgb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B802B8E-EFC1-2659-B948-F421646C5C4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4000" y="2142867"/>
            <a:ext cx="9114374" cy="3996677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1E694B86-3009-7842-3F17-B9BBD1FB130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414661" y="2334455"/>
            <a:ext cx="1327319" cy="1301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0858373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CDAD47-E333-77FA-70F5-0C923AF453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F1B5D90-7A3B-1A67-DB19-F0591E0FBEFD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D2FE900-80BC-8273-AFFF-524AD7915E3C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0969D139-130B-69BF-B92F-7B766050F2C8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16DC2DA-4E09-B8E4-803C-A5000AEA4A44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7 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D5B17788-928A-4A25-10D8-D097EE4E0372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3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Suivre l’évolution du prix barré</a:t>
            </a:r>
            <a:endParaRPr lang="fr-FR" sz="20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40624E2C-90B9-08B8-965F-320AAA5858B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1CF1A02-6080-DBFF-F060-F59C3B09165E}"/>
              </a:ext>
            </a:extLst>
          </p:cNvPr>
          <p:cNvSpPr txBox="1"/>
          <p:nvPr/>
        </p:nvSpPr>
        <p:spPr>
          <a:xfrm>
            <a:off x="898070" y="492774"/>
            <a:ext cx="10760998" cy="463846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Les promotions ont-elles un impact sur le prix pratiqué avant promotion ? 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36E7B0C0-C4E1-005F-5E68-5A7A86DDE5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74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68BC29D3-1A73-17CC-95E1-48019F7C5B75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D27D17E2-68A5-81EA-97D4-F7C213385B60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Dispersion des prix pratiqués par semaine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65AEC684-FC62-82CF-F088-71986EF8B4E7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B8479FAB-EA56-EE56-2571-477D4EBCFFB9}"/>
              </a:ext>
            </a:extLst>
          </p:cNvPr>
          <p:cNvGrpSpPr/>
          <p:nvPr/>
        </p:nvGrpSpPr>
        <p:grpSpPr>
          <a:xfrm>
            <a:off x="898070" y="1969599"/>
            <a:ext cx="10397939" cy="4514851"/>
            <a:chOff x="898070" y="1969599"/>
            <a:chExt cx="10397939" cy="4514851"/>
          </a:xfrm>
        </p:grpSpPr>
        <p:graphicFrame>
          <p:nvGraphicFramePr>
            <p:cNvPr id="11" name="Chart 10">
              <a:extLst>
                <a:ext uri="{FF2B5EF4-FFF2-40B4-BE49-F238E27FC236}">
                  <a16:creationId xmlns:a16="http://schemas.microsoft.com/office/drawing/2014/main" id="{B86F5A43-83AB-0D3F-4A7D-CDF728B299BD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3388886039"/>
                </p:ext>
              </p:extLst>
            </p:nvPr>
          </p:nvGraphicFramePr>
          <p:xfrm>
            <a:off x="1612009" y="1969599"/>
            <a:ext cx="9684000" cy="451485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graphicFrame>
          <p:nvGraphicFramePr>
            <p:cNvPr id="10" name="Chart 9">
              <a:extLst>
                <a:ext uri="{FF2B5EF4-FFF2-40B4-BE49-F238E27FC236}">
                  <a16:creationId xmlns:a16="http://schemas.microsoft.com/office/drawing/2014/main" id="{27CD39A9-E0E3-4964-A8AC-077A4F654A8E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1892329219"/>
                </p:ext>
              </p:extLst>
            </p:nvPr>
          </p:nvGraphicFramePr>
          <p:xfrm>
            <a:off x="898070" y="2192227"/>
            <a:ext cx="9828430" cy="343575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5"/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2422920429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E219E4-F327-2C97-43F3-83768DAB18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6CFBA07-2D32-DA99-DAF6-D06070382B00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565DA9F-EDC1-6D51-3032-EE9B04C27F37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CA54F457-F65E-8021-5E52-0CF39E1D32C3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AA31700-D135-6780-5730-BBF0554D1A9E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018 [@SUPR@]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A601A4FA-6B34-3B7F-7098-2CCC4C6956CC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5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Suivre les prix psychologiques</a:t>
            </a:r>
            <a:endParaRPr lang="fr-FR" sz="28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479C9B74-DB15-23D9-BA71-80378629640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D979170-A4F1-B1F0-F5A3-7436DABBA233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Certains seuils psychologiques ont-ils été franchis par Gin Bombay Sapphire 70cl sur la période ? 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6FF11D61-CA22-AC7F-A61B-3A1F499A4B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75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BA21C56-BB87-E073-47D6-84A22701D5F3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0FD67726-03C9-01B0-95E8-C103F5F1F8AC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Fréquence de franchissement de seuil psychologique (1€, 5€, 10€) à la hausse ou à la baisse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70EFD7C8-ED36-E2C0-B231-24569083C6AB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Gin Bombay Sapphire 70cl 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2C80C068-2CF2-C837-76F7-F3BE45535B6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8071" y="2243165"/>
            <a:ext cx="10578576" cy="3855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3141285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922AAF3-B0FD-39B7-8520-3A719C3D6C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7AC2623-45BA-1A8C-B7DE-7E6A8BD2DFA3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F9F4790-CA77-1AD9-E564-826583FCFD6D}"/>
              </a:ext>
            </a:extLst>
          </p:cNvPr>
          <p:cNvSpPr/>
          <p:nvPr/>
        </p:nvSpPr>
        <p:spPr>
          <a:xfrm>
            <a:off x="532932" y="1403928"/>
            <a:ext cx="5847330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760B1822-83E7-B7EA-E77E-8FD0298553E0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67B86DB-FEEA-6621-D569-BEF44E561488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009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5EAB096D-CE4D-B3D8-D10D-F14DE3819AA8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2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Différencier les prix</a:t>
            </a:r>
            <a:endParaRPr lang="fr-FR" sz="28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9D8205FD-17F1-DE2A-758C-B1C4AC7D938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130CAE1-360B-3E9F-1809-767A53E5B53B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Les prix sont ils correctement différenciés par région et par taille de magasin sur le Gin Bombay Sapphire 70cl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2ED2276B-B499-D33A-DAAC-EEF92230A0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76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0614410D-D3AE-06B5-9F1D-C9169518C370}"/>
              </a:ext>
            </a:extLst>
          </p:cNvPr>
          <p:cNvGrpSpPr/>
          <p:nvPr/>
        </p:nvGrpSpPr>
        <p:grpSpPr>
          <a:xfrm>
            <a:off x="898071" y="1563201"/>
            <a:ext cx="51979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5BDF266C-E7DB-040D-8EDA-21CA71A3B548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Distance entre le prix/L avant promo P95 et le prix P05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84DC423D-411C-8AA3-37E9-AA0D08597BF6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6395D00E-1DD7-3252-9656-2F6367F1B390}"/>
              </a:ext>
            </a:extLst>
          </p:cNvPr>
          <p:cNvGrpSpPr/>
          <p:nvPr/>
        </p:nvGrpSpPr>
        <p:grpSpPr>
          <a:xfrm>
            <a:off x="6687166" y="1563201"/>
            <a:ext cx="5197930" cy="534498"/>
            <a:chOff x="1050129" y="1563201"/>
            <a:chExt cx="4326467" cy="534498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D4F224D6-9542-E589-B1DC-E663B4080F5E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Prix/L avant promotion par taille de magasin (nbre de Spiritueux)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71D91180-519C-0232-EB4D-45A4ADAA8F01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58B1C5AA-A777-1108-0079-769E3CC2548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9837" y="2243165"/>
            <a:ext cx="5195917" cy="394908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0E4CE99-CF63-2D8A-3D2C-1AAEA0A4367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34262" y="2313142"/>
            <a:ext cx="5303915" cy="40042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5661677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E7C151-9AC7-BE4D-A046-F57C456A9E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48F728F-9E7C-C61E-BA7E-D7915F939C00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FCB6EC2-E950-B697-6DF9-DED862658D5D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1134A0D5-1CCD-FD67-3535-CA1D0EE92A29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ACFE1AC-9D3C-CAB7-D83F-D92A06600DFD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5 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468755DE-AFCD-E347-3774-C422D5A97782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1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Mesurer l’impact sur la distribution numérique</a:t>
            </a:r>
            <a:endParaRPr lang="fr-FR" sz="20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54CB99EF-51EB-2A1B-7E15-8595112F49A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5843494-2414-0A0D-0C95-E6AB4D6B5BA7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 a été l’impact des promotions pratiquées sur Bombay Citron Pressé 70cl chez Leclerc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11D69F91-7572-3CDC-A78C-10924D187B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77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BF5A6B5-9029-954E-953A-9B02E2BE7670}"/>
              </a:ext>
            </a:extLst>
          </p:cNvPr>
          <p:cNvGrpSpPr/>
          <p:nvPr/>
        </p:nvGrpSpPr>
        <p:grpSpPr>
          <a:xfrm>
            <a:off x="898070" y="1563201"/>
            <a:ext cx="5071726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D2CC5DF0-96C8-52C3-F391-060D880EAF05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Répartition des magasins en promotion (zoom : conquête)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5D2BC4A0-FCEF-0FB1-4C59-66197C6B6E5C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– Gagné dans les 15 jours avant la promo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D3D04DB2-89CF-17E2-B233-E1CB871C8F2D}"/>
              </a:ext>
            </a:extLst>
          </p:cNvPr>
          <p:cNvGrpSpPr/>
          <p:nvPr/>
        </p:nvGrpSpPr>
        <p:grpSpPr>
          <a:xfrm>
            <a:off x="6587340" y="1563201"/>
            <a:ext cx="5071726" cy="534498"/>
            <a:chOff x="1050129" y="1563201"/>
            <a:chExt cx="4326467" cy="534498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564CE0C9-F8BB-98D5-49B7-268B7108D550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Répartition des magasins en promotion (zoom : perdus)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D846434C-4A25-6D36-0CC1-B8C0BAC8CCE9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– Perdus dans les 15 jours après la promo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9B521E93-1880-94CE-8740-C088B9E585C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41120" y="2213813"/>
            <a:ext cx="5074648" cy="408012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67B88693-1815-9D7F-BE7F-917DEB760DD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8632" y="2213812"/>
            <a:ext cx="5073125" cy="4080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4850616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BE9519-A01F-06C3-C216-BB46A9C3E6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C799E25-7B48-13EA-584F-2E5123B55D4B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3A6BF6E-D1BC-A192-3243-18B960DD4F3B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AE552940-27FC-5F14-D023-266FA9541A3E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9737BCA-D7D0-9E73-1C0B-A2CE03A99026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8 </a:t>
            </a:r>
            <a:endParaRPr lang="fr-FR" sz="1100" dirty="0">
              <a:solidFill>
                <a:schemeClr val="accent3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8F20B770-9124-4CB0-EE29-462FF822504B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2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Contrôler l’exécution promotionnelle</a:t>
            </a:r>
            <a:endParaRPr lang="fr-FR" sz="20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A7942828-FD45-C8DC-F97B-23D0D14DDFB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6CD82506-BBCD-77C5-736E-A742E4359A79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 est l’impact de la promotion sur la mise en avant des produits de la catégorie Gin et du rayon Spiritueux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E7AD3571-8BE5-3AD5-43FF-2812D97D61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78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F2DD730-C4A0-9C71-1CF8-87575D282273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CC8C7833-1800-9853-746F-CE28BDA666E5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Évolution de la position moyenne des produits sur le site internet par magasins en promotion ou hors promotion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713C487-EA76-0D78-7D48-4D0050F2EB4F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8C56D675-5BCA-60AB-CD88-969A1EF5155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8070" y="2142867"/>
            <a:ext cx="10452250" cy="41355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4881221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715FC9-C089-9104-9B78-2130C67B81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FFE53B9-864F-4178-EF06-852506AE2894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0FFBE66-87F1-F290-6B60-48D84176A041}"/>
              </a:ext>
            </a:extLst>
          </p:cNvPr>
          <p:cNvSpPr/>
          <p:nvPr/>
        </p:nvSpPr>
        <p:spPr>
          <a:xfrm>
            <a:off x="532932" y="1403928"/>
            <a:ext cx="5847330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0F658B9F-4DBD-41CB-97EC-931656479ADF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B58BB35-2EEA-C5C5-2058-8F29D225AA59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010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3A88BB2C-B63F-DCA9-D3ED-CCEAF7F10E53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3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Identifier les territoires vierges</a:t>
            </a:r>
            <a:endParaRPr lang="fr-FR" sz="28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14C26E54-5D86-0DF5-63DD-917634AFD11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14A8133E-DEDE-10EE-741A-D6120494094C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Quelle est l’intensité concurrentielle sur le territoire prix spécifique de chacun de mes produits ?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6A4EDE86-51B0-FADA-188C-466454C1DC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79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AD60BF50-BB5B-8E63-E981-4F527FE5DC85}"/>
              </a:ext>
            </a:extLst>
          </p:cNvPr>
          <p:cNvGrpSpPr/>
          <p:nvPr/>
        </p:nvGrpSpPr>
        <p:grpSpPr>
          <a:xfrm>
            <a:off x="898070" y="1563201"/>
            <a:ext cx="7258959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EAA6526B-A1DE-3C1C-C2C7-6A79EC244DFF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Nombre d’observations produits par tranche de prix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888BD00-5C83-D671-0106-F698E3AA0233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7E35BC5F-3B46-BBF4-CD9E-BC03E2006B32}"/>
              </a:ext>
            </a:extLst>
          </p:cNvPr>
          <p:cNvGrpSpPr/>
          <p:nvPr/>
        </p:nvGrpSpPr>
        <p:grpSpPr>
          <a:xfrm>
            <a:off x="6772496" y="1563201"/>
            <a:ext cx="7258959" cy="534498"/>
            <a:chOff x="1050129" y="1563201"/>
            <a:chExt cx="4326467" cy="534498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B63E04AD-BA41-363E-AE1E-D8BCB014325A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Nombre d’observations produits par point prix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3A0C5A3C-C72F-1436-5365-16B34A751875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611F82CE-02F7-DA63-6CFD-ED6225DFD542}"/>
              </a:ext>
            </a:extLst>
          </p:cNvPr>
          <p:cNvSpPr txBox="1"/>
          <p:nvPr/>
        </p:nvSpPr>
        <p:spPr>
          <a:xfrm>
            <a:off x="10716166" y="2565046"/>
            <a:ext cx="1019980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pPr algn="ctr"/>
            <a:r>
              <a:rPr lang="fr-FR" sz="1600" b="1">
                <a:solidFill>
                  <a:schemeClr val="tx2">
                    <a:lumMod val="60000"/>
                    <a:lumOff val="40000"/>
                  </a:schemeClr>
                </a:solidFill>
                <a:latin typeface="Aptos Black" panose="020B0004020202020204" pitchFamily="34" charset="0"/>
              </a:rPr>
              <a:t>85%</a:t>
            </a:r>
            <a:endParaRPr lang="fr-FR" sz="1600" b="1" dirty="0">
              <a:solidFill>
                <a:schemeClr val="tx2">
                  <a:lumMod val="60000"/>
                  <a:lumOff val="40000"/>
                </a:schemeClr>
              </a:solidFill>
              <a:latin typeface="Aptos Black" panose="020B00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0A5A133-F43D-7A3E-865A-D44244814AE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2932" y="2228389"/>
            <a:ext cx="5475324" cy="408897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93AFB613-309D-0223-DF5A-85F1CCDC9EC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41379" y="2344811"/>
            <a:ext cx="5273188" cy="4174671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C3BC1983-F652-4ACA-A687-416A7188338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585733" y="2071413"/>
            <a:ext cx="1281229" cy="132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52170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EA34C8-5EA3-D564-EF7E-EBAA163117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C3A46FFD-A62A-A202-FE05-1E11C23EB762}"/>
              </a:ext>
            </a:extLst>
          </p:cNvPr>
          <p:cNvGrpSpPr/>
          <p:nvPr/>
        </p:nvGrpSpPr>
        <p:grpSpPr>
          <a:xfrm>
            <a:off x="-1" y="0"/>
            <a:ext cx="7421078" cy="6858000"/>
            <a:chOff x="-1" y="0"/>
            <a:chExt cx="7421078" cy="685800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727C765B-9334-1492-681B-B38C34009DBD}"/>
                </a:ext>
              </a:extLst>
            </p:cNvPr>
            <p:cNvSpPr/>
            <p:nvPr/>
          </p:nvSpPr>
          <p:spPr>
            <a:xfrm>
              <a:off x="1" y="4454"/>
              <a:ext cx="7421076" cy="6853546"/>
            </a:xfrm>
            <a:prstGeom prst="rect">
              <a:avLst/>
            </a:prstGeom>
            <a:blipFill>
              <a:blip r:embed="rId3"/>
              <a:stretch>
                <a:fillRect l="-9598" r="-9598"/>
              </a:stretch>
            </a:blip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fr-FR" sz="1600" b="1" noProof="0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CF965A7A-2C3E-C9EB-360F-21132E52F6A5}"/>
                </a:ext>
              </a:extLst>
            </p:cNvPr>
            <p:cNvSpPr/>
            <p:nvPr/>
          </p:nvSpPr>
          <p:spPr>
            <a:xfrm>
              <a:off x="-1" y="0"/>
              <a:ext cx="7421076" cy="6858000"/>
            </a:xfrm>
            <a:prstGeom prst="rect">
              <a:avLst/>
            </a:prstGeom>
            <a:solidFill>
              <a:srgbClr val="303237">
                <a:alpha val="69804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fr-FR" sz="8800" b="1" noProof="0" dirty="0">
                <a:solidFill>
                  <a:schemeClr val="tx1">
                    <a:lumMod val="50000"/>
                    <a:lumOff val="50000"/>
                  </a:schemeClr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endParaRPr>
            </a:p>
          </p:txBody>
        </p:sp>
      </p:grp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4825DEAC-D9DA-F81D-C888-766914E60F18}"/>
              </a:ext>
            </a:extLst>
          </p:cNvPr>
          <p:cNvSpPr/>
          <p:nvPr/>
        </p:nvSpPr>
        <p:spPr>
          <a:xfrm>
            <a:off x="5544152" y="524576"/>
            <a:ext cx="6188400" cy="5808848"/>
          </a:xfrm>
          <a:prstGeom prst="roundRect">
            <a:avLst>
              <a:gd name="adj" fmla="val 4074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tIns="468000" rIns="0" bIns="0" rtlCol="0" anchor="t"/>
          <a:lstStyle/>
          <a:p>
            <a:pPr algn="l"/>
            <a:r>
              <a:rPr lang="fr-FR" sz="2400" b="1" dirty="0">
                <a:solidFill>
                  <a:schemeClr val="accent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ommaire</a:t>
            </a:r>
            <a:endParaRPr lang="fr-FR" sz="2400" b="1" noProof="0" dirty="0">
              <a:solidFill>
                <a:schemeClr val="accent1"/>
              </a:solidFill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algn="l"/>
            <a:endParaRPr lang="fr-FR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400050" indent="-400050" algn="l">
              <a:buAutoNum type="romanUcPeriod"/>
            </a:pPr>
            <a:r>
              <a:rPr lang="fr-FR" b="1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texte global</a:t>
            </a:r>
          </a:p>
          <a:p>
            <a:pPr marL="400050" indent="-400050" algn="l">
              <a:buAutoNum type="romanUcPeriod"/>
            </a:pPr>
            <a:r>
              <a:rPr lang="fr-FR" b="1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Distribution et assortiment</a:t>
            </a:r>
          </a:p>
          <a:p>
            <a:pPr marL="400050" indent="-400050" algn="l">
              <a:buAutoNum type="romanUcPeriod"/>
            </a:pPr>
            <a:r>
              <a:rPr lang="fr-FR" b="1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olitique tarifaire</a:t>
            </a:r>
          </a:p>
          <a:p>
            <a:pPr marL="400050" indent="-400050">
              <a:buAutoNum type="romanUcPeriod"/>
            </a:pPr>
            <a:r>
              <a:rPr lang="fr-FR" b="1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Analyse promotionnelle</a:t>
            </a:r>
          </a:p>
          <a:p>
            <a:pPr marL="400050" indent="-400050">
              <a:buFontTx/>
              <a:buAutoNum type="romanUcPeriod"/>
            </a:pPr>
            <a:r>
              <a:rPr lang="fr-FR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Disponibilité et ruptures</a:t>
            </a:r>
          </a:p>
          <a:p>
            <a:pPr marL="400050" indent="-400050">
              <a:buAutoNum type="romanUcPeriod"/>
            </a:pPr>
            <a:r>
              <a:rPr lang="fr-FR" b="1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Territoires commerciaux</a:t>
            </a:r>
          </a:p>
          <a:p>
            <a:pPr marL="400050" indent="-400050">
              <a:buAutoNum type="romanUcPeriod"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7248518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CDAD47-E333-77FA-70F5-0C923AF453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F1B5D90-7A3B-1A67-DB19-F0591E0FBEFD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D2FE900-80BC-8273-AFFF-524AD7915E3C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0969D139-130B-69BF-B92F-7B766050F2C8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16DC2DA-4E09-B8E4-803C-A5000AEA4A44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7 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D5B17788-928A-4A25-10D8-D097EE4E0372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3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Suivre l’évolution du prix barré</a:t>
            </a:r>
            <a:endParaRPr lang="fr-FR" sz="20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40624E2C-90B9-08B8-965F-320AAA5858B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1CF1A02-6080-DBFF-F060-F59C3B09165E}"/>
              </a:ext>
            </a:extLst>
          </p:cNvPr>
          <p:cNvSpPr txBox="1"/>
          <p:nvPr/>
        </p:nvSpPr>
        <p:spPr>
          <a:xfrm>
            <a:off x="898070" y="492774"/>
            <a:ext cx="10760998" cy="463846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Les promotions ont-elles un impact sur le prix pratiqué avant promotion ? 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36E7B0C0-C4E1-005F-5E68-5A7A86DDE5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80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68BC29D3-1A73-17CC-95E1-48019F7C5B75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D27D17E2-68A5-81EA-97D4-F7C213385B60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Dispersion des prix pratiqués par semaine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65AEC684-FC62-82CF-F088-71986EF8B4E7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B8479FAB-EA56-EE56-2571-477D4EBCFFB9}"/>
              </a:ext>
            </a:extLst>
          </p:cNvPr>
          <p:cNvGrpSpPr/>
          <p:nvPr/>
        </p:nvGrpSpPr>
        <p:grpSpPr>
          <a:xfrm>
            <a:off x="898070" y="1969599"/>
            <a:ext cx="10397939" cy="4514851"/>
            <a:chOff x="898070" y="1969599"/>
            <a:chExt cx="10397939" cy="4514851"/>
          </a:xfrm>
        </p:grpSpPr>
        <p:graphicFrame>
          <p:nvGraphicFramePr>
            <p:cNvPr id="11" name="Chart 10">
              <a:extLst>
                <a:ext uri="{FF2B5EF4-FFF2-40B4-BE49-F238E27FC236}">
                  <a16:creationId xmlns:a16="http://schemas.microsoft.com/office/drawing/2014/main" id="{B86F5A43-83AB-0D3F-4A7D-CDF728B299BD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3388886039"/>
                </p:ext>
              </p:extLst>
            </p:nvPr>
          </p:nvGraphicFramePr>
          <p:xfrm>
            <a:off x="1612009" y="1969599"/>
            <a:ext cx="9684000" cy="451485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graphicFrame>
          <p:nvGraphicFramePr>
            <p:cNvPr id="10" name="Chart 9">
              <a:extLst>
                <a:ext uri="{FF2B5EF4-FFF2-40B4-BE49-F238E27FC236}">
                  <a16:creationId xmlns:a16="http://schemas.microsoft.com/office/drawing/2014/main" id="{27CD39A9-E0E3-4964-A8AC-077A4F654A8E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1892329219"/>
                </p:ext>
              </p:extLst>
            </p:nvPr>
          </p:nvGraphicFramePr>
          <p:xfrm>
            <a:off x="898070" y="2192227"/>
            <a:ext cx="9828430" cy="343575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5"/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2936892543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E7C151-9AC7-BE4D-A046-F57C456A9E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48F728F-9E7C-C61E-BA7E-D7915F939C00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FCB6EC2-E950-B697-6DF9-DED862658D5D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1134A0D5-1CCD-FD67-3535-CA1D0EE92A29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ACFE1AC-9D3C-CAB7-D83F-D92A06600DFD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5 [@SUPR@]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468755DE-AFCD-E347-3774-C422D5A97782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1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Mesurer l’impact sur la distribution numérique</a:t>
            </a:r>
            <a:endParaRPr lang="fr-FR" sz="20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54CB99EF-51EB-2A1B-7E15-8595112F49A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5843494-2414-0A0D-0C95-E6AB4D6B5BA7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 a été l’impact des promotions pratiquées sur Gin Bombay Sapphire East 70cl chez Leclerc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11D69F91-7572-3CDC-A78C-10924D187B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81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BF5A6B5-9029-954E-953A-9B02E2BE7670}"/>
              </a:ext>
            </a:extLst>
          </p:cNvPr>
          <p:cNvGrpSpPr/>
          <p:nvPr/>
        </p:nvGrpSpPr>
        <p:grpSpPr>
          <a:xfrm>
            <a:off x="898070" y="1563201"/>
            <a:ext cx="5071726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D2CC5DF0-96C8-52C3-F391-060D880EAF05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Répartition des magasins en promotion (zoom : conquête)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5D2BC4A0-FCEF-0FB1-4C59-66197C6B6E5C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– Gagné dans les 15 jours avant la promo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D3D04DB2-89CF-17E2-B233-E1CB871C8F2D}"/>
              </a:ext>
            </a:extLst>
          </p:cNvPr>
          <p:cNvGrpSpPr/>
          <p:nvPr/>
        </p:nvGrpSpPr>
        <p:grpSpPr>
          <a:xfrm>
            <a:off x="6587340" y="1563201"/>
            <a:ext cx="5071726" cy="534498"/>
            <a:chOff x="1050129" y="1563201"/>
            <a:chExt cx="4326467" cy="534498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564CE0C9-F8BB-98D5-49B7-268B7108D550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Répartition des magasins en promotion (zoom : perdus)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D846434C-4A25-6D36-0CC1-B8C0BAC8CCE9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– Perdus dans les 15 jours après la promo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B93CDB29-4A84-395E-C8AB-E5CC0C9A7B4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41120" y="2213813"/>
            <a:ext cx="5074648" cy="408012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04693A74-FACF-DD81-A0AF-08C737B6E6F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8632" y="2213812"/>
            <a:ext cx="5073125" cy="4080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9143444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BE9519-A01F-06C3-C216-BB46A9C3E6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C799E25-7B48-13EA-584F-2E5123B55D4B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3A6BF6E-D1BC-A192-3243-18B960DD4F3B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AE552940-27FC-5F14-D023-266FA9541A3E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9737BCA-D7D0-9E73-1C0B-A2CE03A99026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8 [@SUPR@]</a:t>
            </a:r>
            <a:endParaRPr lang="fr-FR" sz="1100" dirty="0">
              <a:solidFill>
                <a:schemeClr val="accent3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8F20B770-9124-4CB0-EE29-462FF822504B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2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Contrôler l’exécution promotionnelle</a:t>
            </a:r>
            <a:endParaRPr lang="fr-FR" sz="20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A7942828-FD45-C8DC-F97B-23D0D14DDFB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6CD82506-BBCD-77C5-736E-A742E4359A79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 est l’impact de la promotion sur la mise en avant des produits de la catégorie Gin et du rayon Spiritueux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E7AD3571-8BE5-3AD5-43FF-2812D97D61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82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F2DD730-C4A0-9C71-1CF8-87575D282273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CC8C7833-1800-9853-746F-CE28BDA666E5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Évolution de la position moyenne des produits sur le site internet par magasins en promotion ou hors promotion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713C487-EA76-0D78-7D48-4D0050F2EB4F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64F5F163-4F07-189B-3C14-BAB43178496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8070" y="2142867"/>
            <a:ext cx="10452250" cy="41355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4290888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697D11A-DCC6-B0EE-1A8E-93ADA7175C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F6B35335-850F-1073-068C-32106D26DB67}"/>
              </a:ext>
            </a:extLst>
          </p:cNvPr>
          <p:cNvGrpSpPr/>
          <p:nvPr/>
        </p:nvGrpSpPr>
        <p:grpSpPr>
          <a:xfrm>
            <a:off x="-1" y="0"/>
            <a:ext cx="7421078" cy="6858000"/>
            <a:chOff x="-1" y="0"/>
            <a:chExt cx="7421078" cy="685800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FCC81E0E-535B-39C3-5563-283BC49EA4C3}"/>
                </a:ext>
              </a:extLst>
            </p:cNvPr>
            <p:cNvSpPr/>
            <p:nvPr/>
          </p:nvSpPr>
          <p:spPr>
            <a:xfrm>
              <a:off x="1" y="4454"/>
              <a:ext cx="7421076" cy="6853546"/>
            </a:xfrm>
            <a:prstGeom prst="rect">
              <a:avLst/>
            </a:prstGeom>
            <a:blipFill>
              <a:blip r:embed="rId3"/>
              <a:stretch>
                <a:fillRect l="-9598" r="-9598"/>
              </a:stretch>
            </a:blip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fr-FR" sz="1600" b="1" noProof="0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C188CFEB-4565-1327-D23A-0D3B9AD83AB1}"/>
                </a:ext>
              </a:extLst>
            </p:cNvPr>
            <p:cNvSpPr/>
            <p:nvPr/>
          </p:nvSpPr>
          <p:spPr>
            <a:xfrm>
              <a:off x="-1" y="0"/>
              <a:ext cx="7421076" cy="6858000"/>
            </a:xfrm>
            <a:prstGeom prst="rect">
              <a:avLst/>
            </a:prstGeom>
            <a:solidFill>
              <a:srgbClr val="303237">
                <a:alpha val="69804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fr-FR" sz="8800" b="1" noProof="0" dirty="0">
                <a:solidFill>
                  <a:schemeClr val="tx1">
                    <a:lumMod val="50000"/>
                    <a:lumOff val="50000"/>
                  </a:schemeClr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endParaRPr>
            </a:p>
          </p:txBody>
        </p:sp>
      </p:grp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6BE44C83-96B4-3740-E969-08F392F85E42}"/>
              </a:ext>
            </a:extLst>
          </p:cNvPr>
          <p:cNvSpPr/>
          <p:nvPr/>
        </p:nvSpPr>
        <p:spPr>
          <a:xfrm>
            <a:off x="5544152" y="524576"/>
            <a:ext cx="6188400" cy="5808848"/>
          </a:xfrm>
          <a:prstGeom prst="roundRect">
            <a:avLst>
              <a:gd name="adj" fmla="val 4074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tIns="468000" rIns="0" bIns="0" rtlCol="0" anchor="t"/>
          <a:lstStyle/>
          <a:p>
            <a:pPr algn="l"/>
            <a:r>
              <a:rPr lang="fr-FR" sz="2400" b="1" dirty="0">
                <a:solidFill>
                  <a:schemeClr val="accent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ommaire</a:t>
            </a:r>
            <a:endParaRPr lang="fr-FR" sz="2400" b="1" noProof="0" dirty="0">
              <a:solidFill>
                <a:schemeClr val="accent1"/>
              </a:solidFill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algn="l"/>
            <a:endParaRPr lang="fr-FR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400050" indent="-400050" algn="l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texte global</a:t>
            </a:r>
          </a:p>
          <a:p>
            <a:pPr marL="400050" indent="-400050" algn="l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Distribution et assortiment</a:t>
            </a:r>
          </a:p>
          <a:p>
            <a:pPr marL="400050" indent="-400050" algn="l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olitique tarifaire</a:t>
            </a:r>
          </a:p>
          <a:p>
            <a:pPr marL="400050" indent="-400050" algn="l">
              <a:buAutoNum type="romanUcPeriod"/>
            </a:pPr>
            <a:endParaRPr lang="fr-FR" b="1" noProof="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400050" indent="-400050">
              <a:buAutoNum type="romanUcPeriod"/>
            </a:pPr>
            <a:r>
              <a:rPr lang="fr-FR" b="1" noProof="0" dirty="0">
                <a:solidFill>
                  <a:schemeClr val="accent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Analyse promotionnelle</a:t>
            </a:r>
          </a:p>
          <a:p>
            <a:pPr marL="857250" lvl="1" indent="-400050">
              <a:buFont typeface="Arial" panose="020B0604020202020204" pitchFamily="34" charset="0"/>
              <a:buChar char="•"/>
            </a:pPr>
            <a:r>
              <a:rPr lang="fr-FR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Benchmark concurrentiel</a:t>
            </a:r>
          </a:p>
          <a:p>
            <a:pPr marL="857250" lvl="1" indent="-400050">
              <a:buFont typeface="Arial" panose="020B0604020202020204" pitchFamily="34" charset="0"/>
              <a:buChar char="•"/>
            </a:pP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État des lieux des promotions</a:t>
            </a:r>
          </a:p>
          <a:p>
            <a:pPr marL="857250" lvl="1" indent="-400050">
              <a:buFont typeface="Arial" panose="020B0604020202020204" pitchFamily="34" charset="0"/>
              <a:buChar char="•"/>
            </a:pPr>
            <a:r>
              <a:rPr lang="fr-FR" dirty="0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Impact des promotions sur la distribution</a:t>
            </a:r>
            <a:endParaRPr lang="fr-FR" b="1" noProof="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857250" lvl="1" indent="-400050">
              <a:buFont typeface="Arial" panose="020B0604020202020204" pitchFamily="34" charset="0"/>
              <a:buChar char="•"/>
            </a:pPr>
            <a:r>
              <a:rPr lang="fr-FR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1 :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Mesurer l’impact sur la DN</a:t>
            </a:r>
          </a:p>
          <a:p>
            <a:pPr marL="857250" lvl="1" indent="-400050">
              <a:buFont typeface="Arial" panose="020B0604020202020204" pitchFamily="34" charset="0"/>
              <a:buChar char="•"/>
            </a:pPr>
            <a:r>
              <a:rPr lang="fr-FR" b="1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2</a:t>
            </a:r>
            <a:r>
              <a:rPr lang="fr-FR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lang="fr-FR" b="1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:</a:t>
            </a:r>
            <a:r>
              <a:rPr lang="fr-FR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Contrôler la bon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ne exécution</a:t>
            </a:r>
            <a:endParaRPr lang="fr-FR" b="1" noProof="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857250" lvl="1" indent="-400050">
              <a:buFont typeface="Arial" panose="020B0604020202020204" pitchFamily="34" charset="0"/>
              <a:buChar char="•"/>
            </a:pPr>
            <a:r>
              <a:rPr lang="fr-FR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3 :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uivre l’évolution du prix barré</a:t>
            </a:r>
          </a:p>
          <a:p>
            <a:pPr marL="857250" lvl="1" indent="-400050">
              <a:buFont typeface="Arial" panose="020B0604020202020204" pitchFamily="34" charset="0"/>
              <a:buChar char="•"/>
            </a:pPr>
            <a:r>
              <a:rPr lang="fr-FR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4 :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Vérifier le positionnement prix</a:t>
            </a:r>
          </a:p>
          <a:p>
            <a:pPr marL="857250" lvl="1" indent="-400050">
              <a:buFont typeface="Arial" panose="020B0604020202020204" pitchFamily="34" charset="0"/>
              <a:buChar char="•"/>
            </a:pPr>
            <a:endParaRPr lang="fr-FR" b="1" dirty="0">
              <a:solidFill>
                <a:schemeClr val="bg1">
                  <a:lumMod val="75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400050" indent="-400050">
              <a:buFontTx/>
              <a:buAutoNum type="romanUcPeriod"/>
            </a:pPr>
            <a:r>
              <a:rPr lang="fr-FR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Disponibilité et ruptures</a:t>
            </a:r>
          </a:p>
          <a:p>
            <a:pPr marL="400050" indent="-400050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Territoires commerciaux</a:t>
            </a:r>
          </a:p>
          <a:p>
            <a:pPr marL="400050" indent="-400050">
              <a:buAutoNum type="romanUcPeriod"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062423282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CDAD47-E333-77FA-70F5-0C923AF453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F1B5D90-7A3B-1A67-DB19-F0591E0FBEFD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D2FE900-80BC-8273-AFFF-524AD7915E3C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0969D139-130B-69BF-B92F-7B766050F2C8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16DC2DA-4E09-B8E4-803C-A5000AEA4A44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7 [@SUPR@]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D5B17788-928A-4A25-10D8-D097EE4E0372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3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Suivre l’évolution du prix barré</a:t>
            </a:r>
            <a:endParaRPr lang="fr-FR" sz="20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40624E2C-90B9-08B8-965F-320AAA5858B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1CF1A02-6080-DBFF-F060-F59C3B09165E}"/>
              </a:ext>
            </a:extLst>
          </p:cNvPr>
          <p:cNvSpPr txBox="1"/>
          <p:nvPr/>
        </p:nvSpPr>
        <p:spPr>
          <a:xfrm>
            <a:off x="898070" y="492774"/>
            <a:ext cx="10760998" cy="463846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Les promotions ont-elles un impact sur le prix pratiqué avant promotion ? 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36E7B0C0-C4E1-005F-5E68-5A7A86DDE5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84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68BC29D3-1A73-17CC-95E1-48019F7C5B75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D27D17E2-68A5-81EA-97D4-F7C213385B60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Dispersion des prix pratiqués par semaine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65AEC684-FC62-82CF-F088-71986EF8B4E7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B8479FAB-EA56-EE56-2571-477D4EBCFFB9}"/>
              </a:ext>
            </a:extLst>
          </p:cNvPr>
          <p:cNvGrpSpPr/>
          <p:nvPr/>
        </p:nvGrpSpPr>
        <p:grpSpPr>
          <a:xfrm>
            <a:off x="898070" y="1969599"/>
            <a:ext cx="10397939" cy="4514851"/>
            <a:chOff x="898070" y="1969599"/>
            <a:chExt cx="10397939" cy="4514851"/>
          </a:xfrm>
        </p:grpSpPr>
        <p:graphicFrame>
          <p:nvGraphicFramePr>
            <p:cNvPr id="11" name="Chart 10">
              <a:extLst>
                <a:ext uri="{FF2B5EF4-FFF2-40B4-BE49-F238E27FC236}">
                  <a16:creationId xmlns:a16="http://schemas.microsoft.com/office/drawing/2014/main" id="{B86F5A43-83AB-0D3F-4A7D-CDF728B299BD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3388886039"/>
                </p:ext>
              </p:extLst>
            </p:nvPr>
          </p:nvGraphicFramePr>
          <p:xfrm>
            <a:off x="1612009" y="1969599"/>
            <a:ext cx="9684000" cy="451485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graphicFrame>
          <p:nvGraphicFramePr>
            <p:cNvPr id="10" name="Chart 9">
              <a:extLst>
                <a:ext uri="{FF2B5EF4-FFF2-40B4-BE49-F238E27FC236}">
                  <a16:creationId xmlns:a16="http://schemas.microsoft.com/office/drawing/2014/main" id="{27CD39A9-E0E3-4964-A8AC-077A4F654A8E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1892329219"/>
                </p:ext>
              </p:extLst>
            </p:nvPr>
          </p:nvGraphicFramePr>
          <p:xfrm>
            <a:off x="898070" y="2192227"/>
            <a:ext cx="9828430" cy="343575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5"/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2460073037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C1B1B6-3489-4E5D-1BC9-59F32F73BC6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CB7A7F5-50C3-B726-002C-E1C57E095C76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A71EC31-26E7-88C5-E52C-E546614AF132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996DD86B-E54D-A097-5EC7-A311AACC4744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C52E808-A403-C1B6-561F-996C4587E435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1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725C0365-6521-E84B-CC98-AE54E36D70B2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dirty="0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A. Benchmark concurrentiel</a:t>
            </a:r>
            <a:endParaRPr lang="fr-FR" sz="28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C6186C02-8042-76C6-4E14-19A4E2A1FC2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952A317E-1603-E072-5EBC-5359C2F01440}"/>
              </a:ext>
            </a:extLst>
          </p:cNvPr>
          <p:cNvSpPr txBox="1"/>
          <p:nvPr/>
        </p:nvSpPr>
        <p:spPr>
          <a:xfrm>
            <a:off x="898070" y="492774"/>
            <a:ext cx="10760998" cy="463846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Quels ont été les catégories les plus promotionnées sur la période ?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25DF17E5-FD3D-8FC7-D18E-45741BA984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85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FF6396E6-A063-6C5A-F193-3F0F81C5B2F9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EC318658-92F6-D2D3-C1F3-8B747883481A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Fréquence promotionnelle pour la marque la plus souvent en promotion pour chaque catégorie produit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C5DA0009-A891-1CD2-CC4A-BE8DB57B96F5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D00C4D6D-FE5C-7DE0-3F4B-C117B5C4389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8200" y="2334114"/>
            <a:ext cx="10454908" cy="3662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4662678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0B2541-CAFE-BD85-BFB6-3D3B142920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67D3561-05FA-44CF-1525-7F421E5A6249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8514432-7540-D880-D356-32DC9289E489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DCC89649-D780-1339-5579-DA988F59B5B1}"/>
              </a:ext>
            </a:extLst>
          </p:cNvPr>
          <p:cNvGrpSpPr/>
          <p:nvPr/>
        </p:nvGrpSpPr>
        <p:grpSpPr>
          <a:xfrm>
            <a:off x="759836" y="2206682"/>
            <a:ext cx="10593964" cy="3500462"/>
            <a:chOff x="898070" y="2366588"/>
            <a:chExt cx="10455730" cy="3366199"/>
          </a:xfrm>
        </p:grpSpPr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DE39085A-4AD4-CA4D-9BC9-C1B228C6BDA7}"/>
                </a:ext>
              </a:extLst>
            </p:cNvPr>
            <p:cNvCxnSpPr/>
            <p:nvPr/>
          </p:nvCxnSpPr>
          <p:spPr>
            <a:xfrm>
              <a:off x="898070" y="2366588"/>
              <a:ext cx="10455730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9B7B3395-9673-E000-CF93-E26ADF03A469}"/>
                </a:ext>
              </a:extLst>
            </p:cNvPr>
            <p:cNvCxnSpPr/>
            <p:nvPr/>
          </p:nvCxnSpPr>
          <p:spPr>
            <a:xfrm>
              <a:off x="898070" y="2787363"/>
              <a:ext cx="10455730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D4B52362-31A8-3678-16EC-5F0AB77F6781}"/>
                </a:ext>
              </a:extLst>
            </p:cNvPr>
            <p:cNvCxnSpPr/>
            <p:nvPr/>
          </p:nvCxnSpPr>
          <p:spPr>
            <a:xfrm>
              <a:off x="898070" y="3208138"/>
              <a:ext cx="10455730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C14AED4D-8A03-109A-7F7F-C4B6F422CE84}"/>
                </a:ext>
              </a:extLst>
            </p:cNvPr>
            <p:cNvCxnSpPr/>
            <p:nvPr/>
          </p:nvCxnSpPr>
          <p:spPr>
            <a:xfrm>
              <a:off x="898070" y="3628913"/>
              <a:ext cx="10455730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EAA02E3C-AE02-6FEF-F8D3-E52117776D97}"/>
                </a:ext>
              </a:extLst>
            </p:cNvPr>
            <p:cNvCxnSpPr/>
            <p:nvPr/>
          </p:nvCxnSpPr>
          <p:spPr>
            <a:xfrm>
              <a:off x="898070" y="4049688"/>
              <a:ext cx="10455730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79EE6763-CF4E-EE8B-59F5-BA67D840D1A0}"/>
                </a:ext>
              </a:extLst>
            </p:cNvPr>
            <p:cNvCxnSpPr/>
            <p:nvPr/>
          </p:nvCxnSpPr>
          <p:spPr>
            <a:xfrm>
              <a:off x="898070" y="4470463"/>
              <a:ext cx="10455730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FE4083-99BF-C16F-2988-2F275AB8406A}"/>
                </a:ext>
              </a:extLst>
            </p:cNvPr>
            <p:cNvCxnSpPr/>
            <p:nvPr/>
          </p:nvCxnSpPr>
          <p:spPr>
            <a:xfrm>
              <a:off x="898070" y="4891238"/>
              <a:ext cx="10455730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FCC1CB0F-FBA3-2456-ADE3-A7D4D15D7EAE}"/>
                </a:ext>
              </a:extLst>
            </p:cNvPr>
            <p:cNvCxnSpPr/>
            <p:nvPr/>
          </p:nvCxnSpPr>
          <p:spPr>
            <a:xfrm>
              <a:off x="898070" y="5312013"/>
              <a:ext cx="10455730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2621A835-B0F5-7DDF-165F-6F570723BEBD}"/>
                </a:ext>
              </a:extLst>
            </p:cNvPr>
            <p:cNvCxnSpPr/>
            <p:nvPr/>
          </p:nvCxnSpPr>
          <p:spPr>
            <a:xfrm>
              <a:off x="898070" y="5732787"/>
              <a:ext cx="10455730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C155B0FE-BAA2-6AF9-FD46-175875C1BA90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5221350-E882-7B84-4747-36ED7FCC4128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2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7742C2F8-A6AB-759E-5F7F-2F958A3EBE50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dirty="0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A. Benchmark concurrentiel</a:t>
            </a:r>
            <a:endParaRPr lang="fr-FR" sz="28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9CF0840D-2D17-756B-2325-80C4311D62C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A5F79ED-D82E-05D4-5208-1E8C9C5A0095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 est le calendrier promotionnel global de la catégorie Gin sur l’ensemble de la période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05DB71A3-17B7-5C9C-73D9-F9AEB95D13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86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709BB3C0-51B4-99AA-DF32-C11D1BBF211A}"/>
              </a:ext>
            </a:extLst>
          </p:cNvPr>
          <p:cNvGrpSpPr/>
          <p:nvPr/>
        </p:nvGrpSpPr>
        <p:grpSpPr>
          <a:xfrm>
            <a:off x="3940148" y="1563201"/>
            <a:ext cx="7578917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8E69FD64-F99D-BC14-3D53-DD2C5D639D9C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Part des magasins en promotion pour les Gin les plus promotionnées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1EF129FF-BEBB-1ABB-3134-1489FBC9A1A5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par semaine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A26823F-AE59-F6E8-81C9-521DF804C5CF}"/>
              </a:ext>
            </a:extLst>
          </p:cNvPr>
          <p:cNvGrpSpPr/>
          <p:nvPr/>
        </p:nvGrpSpPr>
        <p:grpSpPr>
          <a:xfrm>
            <a:off x="4512624" y="2206682"/>
            <a:ext cx="6468972" cy="3500460"/>
            <a:chOff x="4482630" y="2206682"/>
            <a:chExt cx="6575623" cy="3500460"/>
          </a:xfrm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D181B15D-B665-C5B3-97D3-30041B0CD986}"/>
                </a:ext>
              </a:extLst>
            </p:cNvPr>
            <p:cNvSpPr/>
            <p:nvPr/>
          </p:nvSpPr>
          <p:spPr>
            <a:xfrm>
              <a:off x="4482630" y="2206682"/>
              <a:ext cx="630288" cy="3500460"/>
            </a:xfrm>
            <a:prstGeom prst="rect">
              <a:avLst/>
            </a:prstGeom>
            <a:solidFill>
              <a:schemeClr val="bg1">
                <a:lumMod val="75000"/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971A271A-4EDD-43C9-DAE0-D0CB7BFDBECA}"/>
                </a:ext>
              </a:extLst>
            </p:cNvPr>
            <p:cNvSpPr/>
            <p:nvPr/>
          </p:nvSpPr>
          <p:spPr>
            <a:xfrm>
              <a:off x="5671697" y="2206682"/>
              <a:ext cx="630288" cy="3500460"/>
            </a:xfrm>
            <a:prstGeom prst="rect">
              <a:avLst/>
            </a:prstGeom>
            <a:solidFill>
              <a:schemeClr val="bg1">
                <a:lumMod val="75000"/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0E5CFCD5-4CEC-8444-4689-764631A60385}"/>
                </a:ext>
              </a:extLst>
            </p:cNvPr>
            <p:cNvSpPr/>
            <p:nvPr/>
          </p:nvSpPr>
          <p:spPr>
            <a:xfrm>
              <a:off x="6860764" y="2206682"/>
              <a:ext cx="630288" cy="3500460"/>
            </a:xfrm>
            <a:prstGeom prst="rect">
              <a:avLst/>
            </a:prstGeom>
            <a:solidFill>
              <a:schemeClr val="bg1">
                <a:lumMod val="75000"/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9A473ABE-1986-8FA4-DD43-7FFF4E424948}"/>
                </a:ext>
              </a:extLst>
            </p:cNvPr>
            <p:cNvSpPr/>
            <p:nvPr/>
          </p:nvSpPr>
          <p:spPr>
            <a:xfrm>
              <a:off x="8049831" y="2206682"/>
              <a:ext cx="630288" cy="3500460"/>
            </a:xfrm>
            <a:prstGeom prst="rect">
              <a:avLst/>
            </a:prstGeom>
            <a:solidFill>
              <a:schemeClr val="bg1">
                <a:lumMod val="75000"/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88AC460C-C6FE-9248-1E1E-E1939951A0E4}"/>
                </a:ext>
              </a:extLst>
            </p:cNvPr>
            <p:cNvSpPr/>
            <p:nvPr/>
          </p:nvSpPr>
          <p:spPr>
            <a:xfrm>
              <a:off x="9238898" y="2206682"/>
              <a:ext cx="630288" cy="3500460"/>
            </a:xfrm>
            <a:prstGeom prst="rect">
              <a:avLst/>
            </a:prstGeom>
            <a:solidFill>
              <a:schemeClr val="bg1">
                <a:lumMod val="75000"/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8264810B-2019-E32C-CB25-BBECECDEB493}"/>
                </a:ext>
              </a:extLst>
            </p:cNvPr>
            <p:cNvSpPr/>
            <p:nvPr/>
          </p:nvSpPr>
          <p:spPr>
            <a:xfrm>
              <a:off x="10427965" y="2206682"/>
              <a:ext cx="630288" cy="3500460"/>
            </a:xfrm>
            <a:prstGeom prst="rect">
              <a:avLst/>
            </a:prstGeom>
            <a:solidFill>
              <a:schemeClr val="bg1">
                <a:lumMod val="75000"/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AD033138-17E2-31D5-306F-76C1C494246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33029893"/>
              </p:ext>
            </p:extLst>
          </p:nvPr>
        </p:nvGraphicFramePr>
        <p:xfrm>
          <a:off x="3940149" y="5731484"/>
          <a:ext cx="7041444" cy="52536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86787">
                  <a:extLst>
                    <a:ext uri="{9D8B030D-6E8A-4147-A177-3AD203B41FA5}">
                      <a16:colId xmlns:a16="http://schemas.microsoft.com/office/drawing/2014/main" val="209267001"/>
                    </a:ext>
                  </a:extLst>
                </a:gridCol>
                <a:gridCol w="586787">
                  <a:extLst>
                    <a:ext uri="{9D8B030D-6E8A-4147-A177-3AD203B41FA5}">
                      <a16:colId xmlns:a16="http://schemas.microsoft.com/office/drawing/2014/main" val="113546974"/>
                    </a:ext>
                  </a:extLst>
                </a:gridCol>
                <a:gridCol w="586787">
                  <a:extLst>
                    <a:ext uri="{9D8B030D-6E8A-4147-A177-3AD203B41FA5}">
                      <a16:colId xmlns:a16="http://schemas.microsoft.com/office/drawing/2014/main" val="1287836086"/>
                    </a:ext>
                  </a:extLst>
                </a:gridCol>
                <a:gridCol w="586787">
                  <a:extLst>
                    <a:ext uri="{9D8B030D-6E8A-4147-A177-3AD203B41FA5}">
                      <a16:colId xmlns:a16="http://schemas.microsoft.com/office/drawing/2014/main" val="2769362015"/>
                    </a:ext>
                  </a:extLst>
                </a:gridCol>
                <a:gridCol w="586787">
                  <a:extLst>
                    <a:ext uri="{9D8B030D-6E8A-4147-A177-3AD203B41FA5}">
                      <a16:colId xmlns:a16="http://schemas.microsoft.com/office/drawing/2014/main" val="2883790623"/>
                    </a:ext>
                  </a:extLst>
                </a:gridCol>
                <a:gridCol w="586787">
                  <a:extLst>
                    <a:ext uri="{9D8B030D-6E8A-4147-A177-3AD203B41FA5}">
                      <a16:colId xmlns:a16="http://schemas.microsoft.com/office/drawing/2014/main" val="4178752101"/>
                    </a:ext>
                  </a:extLst>
                </a:gridCol>
                <a:gridCol w="586787">
                  <a:extLst>
                    <a:ext uri="{9D8B030D-6E8A-4147-A177-3AD203B41FA5}">
                      <a16:colId xmlns:a16="http://schemas.microsoft.com/office/drawing/2014/main" val="735212662"/>
                    </a:ext>
                  </a:extLst>
                </a:gridCol>
                <a:gridCol w="586787">
                  <a:extLst>
                    <a:ext uri="{9D8B030D-6E8A-4147-A177-3AD203B41FA5}">
                      <a16:colId xmlns:a16="http://schemas.microsoft.com/office/drawing/2014/main" val="332139649"/>
                    </a:ext>
                  </a:extLst>
                </a:gridCol>
                <a:gridCol w="586787">
                  <a:extLst>
                    <a:ext uri="{9D8B030D-6E8A-4147-A177-3AD203B41FA5}">
                      <a16:colId xmlns:a16="http://schemas.microsoft.com/office/drawing/2014/main" val="3621268330"/>
                    </a:ext>
                  </a:extLst>
                </a:gridCol>
                <a:gridCol w="586787">
                  <a:extLst>
                    <a:ext uri="{9D8B030D-6E8A-4147-A177-3AD203B41FA5}">
                      <a16:colId xmlns:a16="http://schemas.microsoft.com/office/drawing/2014/main" val="1411055891"/>
                    </a:ext>
                  </a:extLst>
                </a:gridCol>
                <a:gridCol w="586787">
                  <a:extLst>
                    <a:ext uri="{9D8B030D-6E8A-4147-A177-3AD203B41FA5}">
                      <a16:colId xmlns:a16="http://schemas.microsoft.com/office/drawing/2014/main" val="3034254902"/>
                    </a:ext>
                  </a:extLst>
                </a:gridCol>
                <a:gridCol w="586787">
                  <a:extLst>
                    <a:ext uri="{9D8B030D-6E8A-4147-A177-3AD203B41FA5}">
                      <a16:colId xmlns:a16="http://schemas.microsoft.com/office/drawing/2014/main" val="422730545"/>
                    </a:ext>
                  </a:extLst>
                </a:gridCol>
              </a:tblGrid>
              <a:tr h="525362">
                <a:tc>
                  <a:txBody>
                    <a:bodyPr/>
                    <a:lstStyle/>
                    <a:p>
                      <a:pPr algn="ctr"/>
                      <a:r>
                        <a:rPr lang="fr-FR" sz="1200" b="0" i="1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</a:rPr>
                        <a:t>07 juil 2025</a:t>
                      </a:r>
                      <a:endParaRPr lang="fr-FR" sz="1200" b="0" i="1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uLnTx/>
                          <a:uFillTx/>
                          <a:latin typeface="Aptos" panose="02110004020202020204"/>
                          <a:ea typeface="+mn-ea"/>
                          <a:cs typeface="+mn-cs"/>
                        </a:rPr>
                        <a:t>14 juil 2025</a:t>
                      </a:r>
                      <a:endParaRPr kumimoji="0" lang="fr-FR" sz="12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uLnTx/>
                        <a:uFillTx/>
                        <a:latin typeface="Aptos" panose="02110004020202020204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uLnTx/>
                          <a:uFillTx/>
                          <a:latin typeface="Aptos" panose="02110004020202020204"/>
                          <a:ea typeface="+mn-ea"/>
                          <a:cs typeface="+mn-cs"/>
                        </a:rPr>
                        <a:t>21 juil 2025</a:t>
                      </a:r>
                      <a:endParaRPr kumimoji="0" lang="fr-FR" sz="12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uLnTx/>
                        <a:uFillTx/>
                        <a:latin typeface="Aptos" panose="02110004020202020204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uLnTx/>
                          <a:uFillTx/>
                          <a:latin typeface="Aptos" panose="02110004020202020204"/>
                          <a:ea typeface="+mn-ea"/>
                          <a:cs typeface="+mn-cs"/>
                        </a:rPr>
                        <a:t>28 juil 2025</a:t>
                      </a:r>
                      <a:endParaRPr kumimoji="0" lang="fr-FR" sz="12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uLnTx/>
                        <a:uFillTx/>
                        <a:latin typeface="Aptos" panose="02110004020202020204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uLnTx/>
                          <a:uFillTx/>
                          <a:latin typeface="Aptos" panose="02110004020202020204"/>
                          <a:ea typeface="+mn-ea"/>
                          <a:cs typeface="+mn-cs"/>
                        </a:rPr>
                        <a:t>##########</a:t>
                      </a:r>
                      <a:endParaRPr kumimoji="0" lang="fr-FR" sz="12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uLnTx/>
                        <a:uFillTx/>
                        <a:latin typeface="Aptos" panose="02110004020202020204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uLnTx/>
                          <a:uFillTx/>
                          <a:latin typeface="Aptos" panose="02110004020202020204"/>
                          <a:ea typeface="+mn-ea"/>
                          <a:cs typeface="+mn-cs"/>
                        </a:rPr>
                        <a:t>##########</a:t>
                      </a:r>
                      <a:endParaRPr kumimoji="0" lang="fr-FR" sz="12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uLnTx/>
                        <a:uFillTx/>
                        <a:latin typeface="Aptos" panose="02110004020202020204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uLnTx/>
                          <a:uFillTx/>
                          <a:latin typeface="Aptos" panose="02110004020202020204"/>
                          <a:ea typeface="+mn-ea"/>
                          <a:cs typeface="+mn-cs"/>
                        </a:rPr>
                        <a:t>##########</a:t>
                      </a:r>
                      <a:endParaRPr kumimoji="0" lang="fr-FR" sz="12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uLnTx/>
                        <a:uFillTx/>
                        <a:latin typeface="Aptos" panose="02110004020202020204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uLnTx/>
                          <a:uFillTx/>
                          <a:latin typeface="Aptos" panose="02110004020202020204"/>
                          <a:ea typeface="+mn-ea"/>
                          <a:cs typeface="+mn-cs"/>
                        </a:rPr>
                        <a:t>25 août 2025</a:t>
                      </a:r>
                      <a:endParaRPr kumimoji="0" lang="fr-FR" sz="12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uLnTx/>
                        <a:uFillTx/>
                        <a:latin typeface="Aptos" panose="02110004020202020204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uLnTx/>
                          <a:uFillTx/>
                          <a:latin typeface="Aptos" panose="02110004020202020204"/>
                          <a:ea typeface="+mn-ea"/>
                          <a:cs typeface="+mn-cs"/>
                        </a:rPr>
                        <a:t>01 sept 2025</a:t>
                      </a:r>
                      <a:endParaRPr kumimoji="0" lang="fr-FR" sz="12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uLnTx/>
                        <a:uFillTx/>
                        <a:latin typeface="Aptos" panose="02110004020202020204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uLnTx/>
                          <a:uFillTx/>
                          <a:latin typeface="Aptos" panose="02110004020202020204"/>
                          <a:ea typeface="+mn-ea"/>
                          <a:cs typeface="+mn-cs"/>
                        </a:rPr>
                        <a:t>08 sept 2025</a:t>
                      </a:r>
                      <a:endParaRPr kumimoji="0" lang="fr-FR" sz="12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uLnTx/>
                        <a:uFillTx/>
                        <a:latin typeface="Aptos" panose="02110004020202020204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uLnTx/>
                          <a:uFillTx/>
                          <a:latin typeface="Aptos" panose="02110004020202020204"/>
                          <a:ea typeface="+mn-ea"/>
                          <a:cs typeface="+mn-cs"/>
                        </a:rPr>
                        <a:t>15 sept 2025</a:t>
                      </a:r>
                      <a:endParaRPr kumimoji="0" lang="fr-FR" sz="12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uLnTx/>
                        <a:uFillTx/>
                        <a:latin typeface="Aptos" panose="02110004020202020204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uLnTx/>
                          <a:uFillTx/>
                          <a:latin typeface="Aptos" panose="02110004020202020204"/>
                          <a:ea typeface="+mn-ea"/>
                          <a:cs typeface="+mn-cs"/>
                        </a:rPr>
                        <a:t>22 sept 2025</a:t>
                      </a:r>
                      <a:endParaRPr kumimoji="0" lang="fr-FR" sz="12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uLnTx/>
                        <a:uFillTx/>
                        <a:latin typeface="Aptos" panose="02110004020202020204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88516669"/>
                  </a:ext>
                </a:extLst>
              </a:tr>
            </a:tbl>
          </a:graphicData>
        </a:graphic>
      </p:graphicFrame>
      <p:grpSp>
        <p:nvGrpSpPr>
          <p:cNvPr id="26" name="Group 25">
            <a:extLst>
              <a:ext uri="{FF2B5EF4-FFF2-40B4-BE49-F238E27FC236}">
                <a16:creationId xmlns:a16="http://schemas.microsoft.com/office/drawing/2014/main" id="{04BDFD82-B0F1-E676-AD93-206BAA288804}"/>
              </a:ext>
            </a:extLst>
          </p:cNvPr>
          <p:cNvGrpSpPr/>
          <p:nvPr/>
        </p:nvGrpSpPr>
        <p:grpSpPr>
          <a:xfrm>
            <a:off x="898071" y="1563201"/>
            <a:ext cx="2815176" cy="534498"/>
            <a:chOff x="1050129" y="1563201"/>
            <a:chExt cx="4326467" cy="534498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211C3461-5382-F545-CB8B-4759043F0F66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Distribution numérique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CF6383C4-7ADD-8264-6E5F-10B2B527062E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249A7024-1D9B-002A-D7B0-B2516CB5B40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13688" y="1879806"/>
            <a:ext cx="8513928" cy="4206703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2CAD7BF5-A84B-5D3C-8ED0-C0C99519D58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59837" y="2088048"/>
            <a:ext cx="3179787" cy="42067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4309856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E7C151-9AC7-BE4D-A046-F57C456A9E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48F728F-9E7C-C61E-BA7E-D7915F939C00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FCB6EC2-E950-B697-6DF9-DED862658D5D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1134A0D5-1CCD-FD67-3535-CA1D0EE92A29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ACFE1AC-9D3C-CAB7-D83F-D92A06600DFD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5 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468755DE-AFCD-E347-3774-C422D5A97782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1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Mesurer l’impact sur la distribution numérique</a:t>
            </a:r>
            <a:endParaRPr lang="fr-FR" sz="20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54CB99EF-51EB-2A1B-7E15-8595112F49A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5843494-2414-0A0D-0C95-E6AB4D6B5BA7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 a été l’impact des promotions pratiquées sur Gin Bombay Sapphire 70cl chez Leclerc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11D69F91-7572-3CDC-A78C-10924D187B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87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BF5A6B5-9029-954E-953A-9B02E2BE7670}"/>
              </a:ext>
            </a:extLst>
          </p:cNvPr>
          <p:cNvGrpSpPr/>
          <p:nvPr/>
        </p:nvGrpSpPr>
        <p:grpSpPr>
          <a:xfrm>
            <a:off x="898070" y="1563201"/>
            <a:ext cx="5071726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D2CC5DF0-96C8-52C3-F391-060D880EAF05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Répartition des magasins en promotion (zoom : conquête)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5D2BC4A0-FCEF-0FB1-4C59-66197C6B6E5C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– Gagné dans les 15 jours avant la promo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D3D04DB2-89CF-17E2-B233-E1CB871C8F2D}"/>
              </a:ext>
            </a:extLst>
          </p:cNvPr>
          <p:cNvGrpSpPr/>
          <p:nvPr/>
        </p:nvGrpSpPr>
        <p:grpSpPr>
          <a:xfrm>
            <a:off x="6587340" y="1563201"/>
            <a:ext cx="5071726" cy="534498"/>
            <a:chOff x="1050129" y="1563201"/>
            <a:chExt cx="4326467" cy="534498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564CE0C9-F8BB-98D5-49B7-268B7108D550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Répartition des magasins en promotion (zoom : perdus)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D846434C-4A25-6D36-0CC1-B8C0BAC8CCE9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– Perdus dans les 15 jours après la promo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8FD4C95A-683D-DB87-3BB1-D5A9B358533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41120" y="2213813"/>
            <a:ext cx="5074648" cy="408012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AC1FC49E-97AC-98B5-095D-9B9B229D835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8632" y="2213812"/>
            <a:ext cx="5073125" cy="4080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8237434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BE9519-A01F-06C3-C216-BB46A9C3E6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C799E25-7B48-13EA-584F-2E5123B55D4B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3A6BF6E-D1BC-A192-3243-18B960DD4F3B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AE552940-27FC-5F14-D023-266FA9541A3E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9737BCA-D7D0-9E73-1C0B-A2CE03A99026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8 </a:t>
            </a:r>
            <a:endParaRPr lang="fr-FR" sz="1100" dirty="0">
              <a:solidFill>
                <a:schemeClr val="accent3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8F20B770-9124-4CB0-EE29-462FF822504B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2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Contrôler l’exécution promotionnelle</a:t>
            </a:r>
            <a:endParaRPr lang="fr-FR" sz="20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A7942828-FD45-C8DC-F97B-23D0D14DDFB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6CD82506-BBCD-77C5-736E-A742E4359A79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 est l’impact de la promotion sur la mise en avant des produits de la catégorie Gin et du rayon Spiritueux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E7AD3571-8BE5-3AD5-43FF-2812D97D61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88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F2DD730-C4A0-9C71-1CF8-87575D282273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CC8C7833-1800-9853-746F-CE28BDA666E5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Évolution de la position moyenne des produits sur le site internet par magasins en promotion ou hors promotion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713C487-EA76-0D78-7D48-4D0050F2EB4F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FBB2B64B-0D8B-E784-6AA0-B9059D1DEC4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8070" y="2142867"/>
            <a:ext cx="10452250" cy="41355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2585476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8D9CA6-DFE1-EF94-C11F-D3880CB166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3923752-0966-7D9D-B957-F204EB55453D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8A1F75A-54DC-EA25-B7E3-A87BD585226B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594177D3-E47B-883E-8AFE-3A1BBBD1C6C4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3E3073C-2117-E0E3-AE9F-3092D23DC4C8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3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616DB94D-4200-676B-CD35-60581BC36F91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dirty="0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A. Benchmark concurrentiel</a:t>
            </a:r>
            <a:endParaRPr lang="fr-FR" sz="28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388F0E2B-D306-A1C9-912E-36E66C0FF95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DB16636-7752-EC9D-6424-690F26322C3F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Quels sont les concurrents ayant le plus recours à la promotion ? (fréquence, intensité, mécanique)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30C8A78A-BD5A-A44A-3A87-3F9E322E9A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89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3FB672AE-098A-CC1B-A90A-B89D31897EA1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C0ECC8C3-75E8-7F7C-4BEB-8208964CE19B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Fréquence promotionnelle et générosité par marque 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EFC4B521-4052-FCF3-1DD2-CCADCE415776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26E720CF-C22D-0E4B-4DAF-F8AD9DA11CF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8072" y="2328051"/>
            <a:ext cx="10263389" cy="38085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653143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52F0D03-565B-35F2-9134-536D7F5AEA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AF055B0D-619E-85A6-33EF-9D5951A445D8}"/>
              </a:ext>
            </a:extLst>
          </p:cNvPr>
          <p:cNvGrpSpPr/>
          <p:nvPr/>
        </p:nvGrpSpPr>
        <p:grpSpPr>
          <a:xfrm>
            <a:off x="-1" y="0"/>
            <a:ext cx="7421078" cy="6858000"/>
            <a:chOff x="-1" y="0"/>
            <a:chExt cx="7421078" cy="685800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FECB36B8-EB2F-5DB4-F7C1-ACEC71B889D2}"/>
                </a:ext>
              </a:extLst>
            </p:cNvPr>
            <p:cNvSpPr/>
            <p:nvPr/>
          </p:nvSpPr>
          <p:spPr>
            <a:xfrm>
              <a:off x="1" y="4454"/>
              <a:ext cx="7421076" cy="6853546"/>
            </a:xfrm>
            <a:prstGeom prst="rect">
              <a:avLst/>
            </a:prstGeom>
            <a:blipFill>
              <a:blip r:embed="rId3"/>
              <a:stretch>
                <a:fillRect l="-9598" r="-9598"/>
              </a:stretch>
            </a:blip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fr-FR" sz="1600" b="1" noProof="0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BA085CE8-F54E-5CCC-7181-8333E47F8101}"/>
                </a:ext>
              </a:extLst>
            </p:cNvPr>
            <p:cNvSpPr/>
            <p:nvPr/>
          </p:nvSpPr>
          <p:spPr>
            <a:xfrm>
              <a:off x="-1" y="0"/>
              <a:ext cx="7421076" cy="6858000"/>
            </a:xfrm>
            <a:prstGeom prst="rect">
              <a:avLst/>
            </a:prstGeom>
            <a:solidFill>
              <a:srgbClr val="303237">
                <a:alpha val="69804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fr-FR" sz="8800" b="1" noProof="0" dirty="0">
                <a:solidFill>
                  <a:schemeClr val="tx1">
                    <a:lumMod val="50000"/>
                    <a:lumOff val="50000"/>
                  </a:schemeClr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endParaRPr>
            </a:p>
          </p:txBody>
        </p:sp>
      </p:grp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486A177C-15BF-DB8A-CAB6-C7BF438FD6CC}"/>
              </a:ext>
            </a:extLst>
          </p:cNvPr>
          <p:cNvSpPr/>
          <p:nvPr/>
        </p:nvSpPr>
        <p:spPr>
          <a:xfrm>
            <a:off x="5544152" y="524576"/>
            <a:ext cx="6188400" cy="5808848"/>
          </a:xfrm>
          <a:prstGeom prst="roundRect">
            <a:avLst>
              <a:gd name="adj" fmla="val 4074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tIns="468000" rIns="0" bIns="0" rtlCol="0" anchor="t"/>
          <a:lstStyle/>
          <a:p>
            <a:r>
              <a:rPr lang="fr-FR" sz="2400" b="1" dirty="0">
                <a:solidFill>
                  <a:schemeClr val="accent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ommaire</a:t>
            </a:r>
          </a:p>
          <a:p>
            <a:pPr algn="l"/>
            <a:endParaRPr lang="fr-FR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400050" indent="-400050" algn="l">
              <a:buAutoNum type="romanUcPeriod"/>
            </a:pPr>
            <a:r>
              <a:rPr lang="fr-FR" b="1" noProof="0" dirty="0">
                <a:solidFill>
                  <a:schemeClr val="accent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texte global</a:t>
            </a:r>
          </a:p>
          <a:p>
            <a:pPr marL="857250" lvl="1" indent="-400050">
              <a:buFont typeface="+mj-lt"/>
              <a:buAutoNum type="alphaLcPeriod"/>
            </a:pPr>
            <a:r>
              <a:rPr lang="fr-FR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texte distributeur</a:t>
            </a:r>
          </a:p>
          <a:p>
            <a:pPr marL="857250" lvl="1" indent="-400050">
              <a:buFont typeface="+mj-lt"/>
              <a:buAutoNum type="alphaLcPeriod"/>
            </a:pP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nvironnement concurrentiel</a:t>
            </a:r>
          </a:p>
          <a:p>
            <a:pPr marL="857250" lvl="1" indent="-400050">
              <a:buFont typeface="+mj-lt"/>
              <a:buAutoNum type="alphaLcPeriod"/>
            </a:pPr>
            <a:r>
              <a:rPr lang="fr-FR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erformance globale</a:t>
            </a:r>
          </a:p>
          <a:p>
            <a:pPr lvl="1"/>
            <a:endParaRPr lang="fr-FR" noProof="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400050" indent="-400050" algn="l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Distribution et assortiment</a:t>
            </a:r>
          </a:p>
          <a:p>
            <a:pPr marL="400050" indent="-400050" algn="l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olitique tarifaire</a:t>
            </a:r>
          </a:p>
          <a:p>
            <a:pPr marL="400050" indent="-400050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Analyse promotionnelle</a:t>
            </a:r>
          </a:p>
          <a:p>
            <a:pPr marL="400050" indent="-400050">
              <a:buFontTx/>
              <a:buAutoNum type="romanUcPeriod"/>
            </a:pPr>
            <a:r>
              <a:rPr lang="fr-FR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Disponibilité et ruptures</a:t>
            </a:r>
          </a:p>
          <a:p>
            <a:pPr marL="400050" indent="-400050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Territoires commerciaux</a:t>
            </a:r>
          </a:p>
          <a:p>
            <a:pPr marL="400050" indent="-400050">
              <a:buAutoNum type="romanUcPeriod"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46897135"/>
      </p:ext>
    </p:ext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CDAD47-E333-77FA-70F5-0C923AF453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F1B5D90-7A3B-1A67-DB19-F0591E0FBEFD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D2FE900-80BC-8273-AFFF-524AD7915E3C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0969D139-130B-69BF-B92F-7B766050F2C8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16DC2DA-4E09-B8E4-803C-A5000AEA4A44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7 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D5B17788-928A-4A25-10D8-D097EE4E0372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3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Suivre l’évolution du prix barré</a:t>
            </a:r>
            <a:endParaRPr lang="fr-FR" sz="20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40624E2C-90B9-08B8-965F-320AAA5858B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1CF1A02-6080-DBFF-F060-F59C3B09165E}"/>
              </a:ext>
            </a:extLst>
          </p:cNvPr>
          <p:cNvSpPr txBox="1"/>
          <p:nvPr/>
        </p:nvSpPr>
        <p:spPr>
          <a:xfrm>
            <a:off x="898070" y="492774"/>
            <a:ext cx="10760998" cy="463846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Les promotions ont-elles un impact sur le prix pratiqué avant promotion ? 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36E7B0C0-C4E1-005F-5E68-5A7A86DDE5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90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68BC29D3-1A73-17CC-95E1-48019F7C5B75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D27D17E2-68A5-81EA-97D4-F7C213385B60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Dispersion des prix pratiqués par semaine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65AEC684-FC62-82CF-F088-71986EF8B4E7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B8479FAB-EA56-EE56-2571-477D4EBCFFB9}"/>
              </a:ext>
            </a:extLst>
          </p:cNvPr>
          <p:cNvGrpSpPr/>
          <p:nvPr/>
        </p:nvGrpSpPr>
        <p:grpSpPr>
          <a:xfrm>
            <a:off x="898070" y="1969599"/>
            <a:ext cx="10397939" cy="4514851"/>
            <a:chOff x="898070" y="1969599"/>
            <a:chExt cx="10397939" cy="4514851"/>
          </a:xfrm>
        </p:grpSpPr>
        <p:graphicFrame>
          <p:nvGraphicFramePr>
            <p:cNvPr id="11" name="Chart 10">
              <a:extLst>
                <a:ext uri="{FF2B5EF4-FFF2-40B4-BE49-F238E27FC236}">
                  <a16:creationId xmlns:a16="http://schemas.microsoft.com/office/drawing/2014/main" id="{B86F5A43-83AB-0D3F-4A7D-CDF728B299BD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3388886039"/>
                </p:ext>
              </p:extLst>
            </p:nvPr>
          </p:nvGraphicFramePr>
          <p:xfrm>
            <a:off x="1612009" y="1969599"/>
            <a:ext cx="9684000" cy="451485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graphicFrame>
          <p:nvGraphicFramePr>
            <p:cNvPr id="10" name="Chart 9">
              <a:extLst>
                <a:ext uri="{FF2B5EF4-FFF2-40B4-BE49-F238E27FC236}">
                  <a16:creationId xmlns:a16="http://schemas.microsoft.com/office/drawing/2014/main" id="{27CD39A9-E0E3-4964-A8AC-077A4F654A8E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1892329219"/>
                </p:ext>
              </p:extLst>
            </p:nvPr>
          </p:nvGraphicFramePr>
          <p:xfrm>
            <a:off x="898070" y="2192227"/>
            <a:ext cx="9828430" cy="343575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5"/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1969898633"/>
      </p:ext>
    </p:extLst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BB7B27-422F-DDBE-2671-8AA28FAE30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4CA5D74-A807-7952-61D5-29F51333A78E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DDCD864-1500-C67F-8B4D-97966BD74948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5E8DDF0C-8DB1-5556-C81D-923DD18FD9C6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AB7B4AD-C3C0-E8B4-75AC-F78011E22098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4 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7B2933D7-9386-46A3-5284-9CFA7C2E0FA9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B. État des lieux des promotions de Bombay</a:t>
            </a:r>
            <a:endParaRPr lang="fr-FR" sz="28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2313D0F1-3FA6-1B7E-7EC7-447F305618E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6D1F2F2-617D-45DC-7E5D-4AFC10CD2595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Quel a été notre calendrier promotionnel sur la période, avec quel assortiment produit, quel périmètre, quelles mécaniques ?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CC20B276-72B8-6AA2-3935-701285E011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91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21EB87A3-4891-2E91-2EF1-93B012629FE3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D81227CF-54B0-3D7F-07E6-F38831438660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Part des magasins proposant le produit en promotion et mécanique principale (RI : Remise immédiate – LV : Lots virtuels)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A4635A4A-10A1-405C-B92E-6A12C705106B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, DN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F32C3695-6463-2590-81C9-5301BCEEE83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30318886"/>
              </p:ext>
            </p:extLst>
          </p:nvPr>
        </p:nvGraphicFramePr>
        <p:xfrm>
          <a:off x="532930" y="2152841"/>
          <a:ext cx="11126138" cy="3994694"/>
        </p:xfrm>
        <a:graphic>
          <a:graphicData uri="http://schemas.openxmlformats.org/drawingml/2006/table">
            <a:tbl>
              <a:tblPr/>
              <a:tblGrid>
                <a:gridCol w="2367648">
                  <a:extLst>
                    <a:ext uri="{9D8B030D-6E8A-4147-A177-3AD203B41FA5}">
                      <a16:colId xmlns:a16="http://schemas.microsoft.com/office/drawing/2014/main" val="1248035082"/>
                    </a:ext>
                  </a:extLst>
                </a:gridCol>
                <a:gridCol w="673730">
                  <a:extLst>
                    <a:ext uri="{9D8B030D-6E8A-4147-A177-3AD203B41FA5}">
                      <a16:colId xmlns:a16="http://schemas.microsoft.com/office/drawing/2014/main" val="587992060"/>
                    </a:ext>
                  </a:extLst>
                </a:gridCol>
                <a:gridCol w="673730">
                  <a:extLst>
                    <a:ext uri="{9D8B030D-6E8A-4147-A177-3AD203B41FA5}">
                      <a16:colId xmlns:a16="http://schemas.microsoft.com/office/drawing/2014/main" val="199401620"/>
                    </a:ext>
                  </a:extLst>
                </a:gridCol>
                <a:gridCol w="673730">
                  <a:extLst>
                    <a:ext uri="{9D8B030D-6E8A-4147-A177-3AD203B41FA5}">
                      <a16:colId xmlns:a16="http://schemas.microsoft.com/office/drawing/2014/main" val="1213132460"/>
                    </a:ext>
                  </a:extLst>
                </a:gridCol>
                <a:gridCol w="673730">
                  <a:extLst>
                    <a:ext uri="{9D8B030D-6E8A-4147-A177-3AD203B41FA5}">
                      <a16:colId xmlns:a16="http://schemas.microsoft.com/office/drawing/2014/main" val="3163304925"/>
                    </a:ext>
                  </a:extLst>
                </a:gridCol>
                <a:gridCol w="673730">
                  <a:extLst>
                    <a:ext uri="{9D8B030D-6E8A-4147-A177-3AD203B41FA5}">
                      <a16:colId xmlns:a16="http://schemas.microsoft.com/office/drawing/2014/main" val="1438612225"/>
                    </a:ext>
                  </a:extLst>
                </a:gridCol>
                <a:gridCol w="673730">
                  <a:extLst>
                    <a:ext uri="{9D8B030D-6E8A-4147-A177-3AD203B41FA5}">
                      <a16:colId xmlns:a16="http://schemas.microsoft.com/office/drawing/2014/main" val="1805501997"/>
                    </a:ext>
                  </a:extLst>
                </a:gridCol>
                <a:gridCol w="673730">
                  <a:extLst>
                    <a:ext uri="{9D8B030D-6E8A-4147-A177-3AD203B41FA5}">
                      <a16:colId xmlns:a16="http://schemas.microsoft.com/office/drawing/2014/main" val="3007644241"/>
                    </a:ext>
                  </a:extLst>
                </a:gridCol>
                <a:gridCol w="673730">
                  <a:extLst>
                    <a:ext uri="{9D8B030D-6E8A-4147-A177-3AD203B41FA5}">
                      <a16:colId xmlns:a16="http://schemas.microsoft.com/office/drawing/2014/main" val="23884249"/>
                    </a:ext>
                  </a:extLst>
                </a:gridCol>
                <a:gridCol w="673730">
                  <a:extLst>
                    <a:ext uri="{9D8B030D-6E8A-4147-A177-3AD203B41FA5}">
                      <a16:colId xmlns:a16="http://schemas.microsoft.com/office/drawing/2014/main" val="786388957"/>
                    </a:ext>
                  </a:extLst>
                </a:gridCol>
                <a:gridCol w="673730">
                  <a:extLst>
                    <a:ext uri="{9D8B030D-6E8A-4147-A177-3AD203B41FA5}">
                      <a16:colId xmlns:a16="http://schemas.microsoft.com/office/drawing/2014/main" val="776829548"/>
                    </a:ext>
                  </a:extLst>
                </a:gridCol>
                <a:gridCol w="673730">
                  <a:extLst>
                    <a:ext uri="{9D8B030D-6E8A-4147-A177-3AD203B41FA5}">
                      <a16:colId xmlns:a16="http://schemas.microsoft.com/office/drawing/2014/main" val="2312410656"/>
                    </a:ext>
                  </a:extLst>
                </a:gridCol>
                <a:gridCol w="673730">
                  <a:extLst>
                    <a:ext uri="{9D8B030D-6E8A-4147-A177-3AD203B41FA5}">
                      <a16:colId xmlns:a16="http://schemas.microsoft.com/office/drawing/2014/main" val="3874322621"/>
                    </a:ext>
                  </a:extLst>
                </a:gridCol>
                <a:gridCol w="673730">
                  <a:extLst>
                    <a:ext uri="{9D8B030D-6E8A-4147-A177-3AD203B41FA5}">
                      <a16:colId xmlns:a16="http://schemas.microsoft.com/office/drawing/2014/main" val="2608096266"/>
                    </a:ext>
                  </a:extLst>
                </a:gridCol>
              </a:tblGrid>
              <a:tr h="424058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16 juin 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23 juin 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30 juin 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07 </a:t>
                      </a:r>
                      <a:r>
                        <a:rPr lang="fr-FR" sz="1200" b="0" i="0" u="none" strike="noStrike" dirty="0" err="1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juil</a:t>
                      </a:r>
                      <a:r>
                        <a:rPr lang="fr-FR" sz="1200" b="0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 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14 </a:t>
                      </a:r>
                      <a:r>
                        <a:rPr lang="fr-FR" sz="1200" b="0" i="0" u="none" strike="noStrike" dirty="0" err="1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juil</a:t>
                      </a:r>
                      <a:r>
                        <a:rPr lang="fr-FR" sz="1200" b="0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 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21 </a:t>
                      </a:r>
                      <a:r>
                        <a:rPr lang="fr-FR" sz="1200" b="0" i="0" u="none" strike="noStrike" dirty="0" err="1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juil</a:t>
                      </a:r>
                      <a:r>
                        <a:rPr lang="fr-FR" sz="1200" b="0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 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28 </a:t>
                      </a:r>
                      <a:r>
                        <a:rPr lang="fr-FR" sz="1200" b="0" i="0" u="none" strike="noStrike" dirty="0" err="1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juil</a:t>
                      </a:r>
                      <a:r>
                        <a:rPr lang="fr-FR" sz="1200" b="0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 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04 août 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11 août 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18 août 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25 août 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01 sept 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Aptos Black" panose="020B0004020202020204" pitchFamily="34" charset="0"/>
                        </a:rPr>
                        <a:t>DN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>
                        <a:lumMod val="90000"/>
                        <a:lumOff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7838494"/>
                  </a:ext>
                </a:extLst>
              </a:tr>
              <a:tr h="40710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Eristoff</a:t>
                      </a:r>
                      <a:r>
                        <a:rPr lang="fr-FR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 Brut 70cl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90000"/>
                        <a:lumOff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6476214"/>
                  </a:ext>
                </a:extLst>
              </a:tr>
              <a:tr h="188006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90000"/>
                        <a:lumOff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978214"/>
                  </a:ext>
                </a:extLst>
              </a:tr>
              <a:tr h="40710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Eristoff</a:t>
                      </a:r>
                      <a:r>
                        <a:rPr lang="fr-FR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 Black 70cl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90000"/>
                        <a:lumOff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0144480"/>
                  </a:ext>
                </a:extLst>
              </a:tr>
              <a:tr h="188006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90000"/>
                        <a:lumOff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6747514"/>
                  </a:ext>
                </a:extLst>
              </a:tr>
              <a:tr h="40710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Eristoff</a:t>
                      </a:r>
                      <a:r>
                        <a:rPr lang="fr-FR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 Red 70cl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90000"/>
                        <a:lumOff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431119"/>
                  </a:ext>
                </a:extLst>
              </a:tr>
              <a:tr h="188006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90000"/>
                        <a:lumOff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629241"/>
                  </a:ext>
                </a:extLst>
              </a:tr>
              <a:tr h="40710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Eristoff</a:t>
                      </a:r>
                      <a:r>
                        <a:rPr lang="fr-FR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 Ginger 70cl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90000"/>
                        <a:lumOff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5650290"/>
                  </a:ext>
                </a:extLst>
              </a:tr>
              <a:tr h="188006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90000"/>
                        <a:lumOff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1128363"/>
                  </a:ext>
                </a:extLst>
              </a:tr>
              <a:tr h="40710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Eristoff</a:t>
                      </a:r>
                      <a:r>
                        <a:rPr lang="fr-FR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 Pink 70cl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90000"/>
                        <a:lumOff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0773522"/>
                  </a:ext>
                </a:extLst>
              </a:tr>
              <a:tr h="188006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90000"/>
                        <a:lumOff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05295543"/>
                  </a:ext>
                </a:extLst>
              </a:tr>
              <a:tr h="40710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Eristoff</a:t>
                      </a:r>
                      <a:r>
                        <a:rPr lang="fr-FR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 Ginger + verre 70cl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90000"/>
                        <a:lumOff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8573720"/>
                  </a:ext>
                </a:extLst>
              </a:tr>
              <a:tr h="188006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90000"/>
                        <a:lumOff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4956492"/>
                  </a:ext>
                </a:extLst>
              </a:tr>
            </a:tbl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A28041CA-2186-127C-3D6F-1148B885078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34445" y="2139251"/>
            <a:ext cx="9038147" cy="4458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1401940"/>
      </p:ext>
    </p:extLst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93206B-03CF-595C-41FA-DB18B64301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0E4220E-0481-BA8E-F357-38697076FEFC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1F95295-3008-7360-E24D-3060F533076F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513BB4A8-20EE-3127-5A1A-9C59CC161E7C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B2E5615-13E1-E8FE-6DE8-D2E68DB6EC49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6  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9A72A027-AA42-67B2-F74A-2FD49B5B922E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B. État des lieux des promotions de Bombay</a:t>
            </a:r>
            <a:endParaRPr lang="fr-FR" sz="24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52441753-9D1E-2A3B-B5A7-C4EA52A0268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21A1FAFE-F9EF-0095-7A49-94295E03A519}"/>
              </a:ext>
            </a:extLst>
          </p:cNvPr>
          <p:cNvSpPr txBox="1"/>
          <p:nvPr/>
        </p:nvSpPr>
        <p:spPr>
          <a:xfrm>
            <a:off x="898070" y="492774"/>
            <a:ext cx="10760998" cy="463846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Les promotions ont-elles été jouées localement </a:t>
            </a:r>
            <a:r>
              <a:rPr lang="fr-FR" sz="2000" b="1" dirty="0">
                <a:latin typeface="Aptos Black" panose="020B0004020202020204" pitchFamily="34" charset="0"/>
              </a:rPr>
              <a:t>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91ED0D1C-3A6A-B05C-CF3D-C6E1930FA7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92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3372943-6B13-746A-9EBD-3496B70DB53D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23989626-286D-A357-6617-367547831E5C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Fréquence promotionnelle de Bombay par région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E60BB636-B40F-0530-C0A8-B98A7DEB7740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EE018480-66DA-428B-9DB2-C5E8E8E4AB6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8071" y="2097699"/>
            <a:ext cx="5765287" cy="404910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AF3D5D1-CADA-A41F-3EF3-C9985858FE1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29120" y="2101339"/>
            <a:ext cx="4425739" cy="40418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8910926"/>
      </p:ext>
    </p:extLst>
  </p:cSld>
  <p:clrMapOvr>
    <a:masterClrMapping/>
  </p:clrMapOvr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32E33B-E2A7-E450-A4BD-F68CB64509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D2DBFCE-94E4-FC36-13E3-651F0C0ADC10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FE842AA-686D-9A82-64EF-227C32F25FE8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/>
              <a:t>/COUNTA($DH$6#)</a:t>
            </a: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15228248-8FF9-95E2-77A2-9BFD1132C4A7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B1637C6-00B4-DD31-D682-44D9483E93AF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0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B1B3551F-8C2F-7D0D-FE5F-789563C9FB9E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dirty="0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C. Impact des promotions sur la distribution</a:t>
            </a: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3DB5EA6F-C79A-FED0-5E51-2E3C32A47F6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EB48AA7-ED1D-B2C8-6D5E-348476488286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Quelle est la performance des concurrents sur la promotion (visibilité, halo, stockage, DN, durée du halo </a:t>
            </a:r>
            <a:r>
              <a:rPr lang="fr-FR" sz="2400" b="1" dirty="0" err="1">
                <a:latin typeface="Aptos Black" panose="020B0004020202020204" pitchFamily="34" charset="0"/>
              </a:rPr>
              <a:t>etc</a:t>
            </a:r>
            <a:r>
              <a:rPr lang="fr-FR" sz="2400" b="1" dirty="0">
                <a:latin typeface="Aptos Black" panose="020B0004020202020204" pitchFamily="34" charset="0"/>
              </a:rPr>
              <a:t>) (PAR MARQUE)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98E72DCB-FBE6-9C5E-CC82-B4F63F08ED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93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3A4282A-12BA-29B1-6750-B9BB6C2B0A07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66CC3639-95CC-9685-8EB6-05CEDFB2B9CE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Part des magasins en promotion, gain de distribution numérique VS semaine précédente et DN par produit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5BA4EBB1-9D34-5D68-7C19-47615408EE51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1 point = 1 produit en promotion pour une semaine donnée entre 23 juin 2025 et 22 sept 2025 chez Leclerc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12" name="Callout: Line with Accent Bar 11">
            <a:extLst>
              <a:ext uri="{FF2B5EF4-FFF2-40B4-BE49-F238E27FC236}">
                <a16:creationId xmlns:a16="http://schemas.microsoft.com/office/drawing/2014/main" id="{84957A94-3CAB-00E1-CA20-22AACDF6E032}"/>
              </a:ext>
            </a:extLst>
          </p:cNvPr>
          <p:cNvSpPr/>
          <p:nvPr/>
        </p:nvSpPr>
        <p:spPr>
          <a:xfrm>
            <a:off x="9961880" y="2215744"/>
            <a:ext cx="1697186" cy="613104"/>
          </a:xfrm>
          <a:prstGeom prst="accentCallout1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ctr"/>
          <a:lstStyle/>
          <a:p>
            <a:r>
              <a:rPr lang="fr-FR" sz="1200" dirty="0">
                <a:solidFill>
                  <a:schemeClr val="accent4"/>
                </a:solidFill>
              </a:rPr>
              <a:t>La </a:t>
            </a:r>
            <a:r>
              <a:rPr lang="fr-FR" sz="1200" b="1" dirty="0">
                <a:solidFill>
                  <a:schemeClr val="accent4"/>
                </a:solidFill>
              </a:rPr>
              <a:t>distribution</a:t>
            </a:r>
            <a:r>
              <a:rPr lang="fr-FR" sz="1200" dirty="0">
                <a:solidFill>
                  <a:schemeClr val="accent4"/>
                </a:solidFill>
              </a:rPr>
              <a:t> a été </a:t>
            </a:r>
            <a:r>
              <a:rPr lang="fr-FR" sz="1200" b="1" dirty="0">
                <a:solidFill>
                  <a:schemeClr val="accent4"/>
                </a:solidFill>
              </a:rPr>
              <a:t>meilleure</a:t>
            </a:r>
            <a:r>
              <a:rPr lang="fr-FR" sz="1200" dirty="0">
                <a:solidFill>
                  <a:schemeClr val="accent4"/>
                </a:solidFill>
              </a:rPr>
              <a:t> sur la période de la promotion.</a:t>
            </a:r>
          </a:p>
        </p:txBody>
      </p:sp>
      <p:sp>
        <p:nvSpPr>
          <p:cNvPr id="16" name="Callout: Line with Accent Bar 15">
            <a:extLst>
              <a:ext uri="{FF2B5EF4-FFF2-40B4-BE49-F238E27FC236}">
                <a16:creationId xmlns:a16="http://schemas.microsoft.com/office/drawing/2014/main" id="{C8150FB4-69A8-A788-8ADE-C53F62580106}"/>
              </a:ext>
            </a:extLst>
          </p:cNvPr>
          <p:cNvSpPr/>
          <p:nvPr/>
        </p:nvSpPr>
        <p:spPr>
          <a:xfrm>
            <a:off x="9961880" y="5249587"/>
            <a:ext cx="1697186" cy="799168"/>
          </a:xfrm>
          <a:prstGeom prst="accentCallout1">
            <a:avLst>
              <a:gd name="adj1" fmla="val 18750"/>
              <a:gd name="adj2" fmla="val -8333"/>
              <a:gd name="adj3" fmla="val 42659"/>
              <a:gd name="adj4" fmla="val -17342"/>
            </a:avLst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ctr"/>
          <a:lstStyle/>
          <a:p>
            <a:r>
              <a:rPr lang="fr-FR" sz="1200" dirty="0">
                <a:solidFill>
                  <a:schemeClr val="accent1"/>
                </a:solidFill>
              </a:rPr>
              <a:t>La </a:t>
            </a:r>
            <a:r>
              <a:rPr lang="fr-FR" sz="1200" b="1" dirty="0">
                <a:solidFill>
                  <a:schemeClr val="accent1"/>
                </a:solidFill>
              </a:rPr>
              <a:t>distribution</a:t>
            </a:r>
            <a:r>
              <a:rPr lang="fr-FR" sz="1200" dirty="0">
                <a:solidFill>
                  <a:schemeClr val="accent1"/>
                </a:solidFill>
              </a:rPr>
              <a:t> a été </a:t>
            </a:r>
            <a:r>
              <a:rPr lang="fr-FR" sz="1200" b="1" dirty="0">
                <a:solidFill>
                  <a:schemeClr val="accent1"/>
                </a:solidFill>
              </a:rPr>
              <a:t>dégradée</a:t>
            </a:r>
            <a:r>
              <a:rPr lang="fr-FR" sz="1200" dirty="0">
                <a:solidFill>
                  <a:schemeClr val="accent1"/>
                </a:solidFill>
              </a:rPr>
              <a:t> sur la période promotionnelle  </a:t>
            </a:r>
            <a:r>
              <a:rPr lang="fr-FR" sz="1200" i="1" dirty="0">
                <a:solidFill>
                  <a:schemeClr val="accent1"/>
                </a:solidFill>
              </a:rPr>
              <a:t>(ruptures, déstockage…)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0094B63-F8DD-3684-492A-99A7742A2FC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8071" y="2088603"/>
            <a:ext cx="5515881" cy="407980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E98614C-57F1-F078-D342-E309678E627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16040" y="2108922"/>
            <a:ext cx="3546594" cy="4079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907250"/>
      </p:ext>
    </p:extLst>
  </p:cSld>
  <p:clrMapOvr>
    <a:masterClrMapping/>
  </p:clrMapOvr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4B23ED-2A4F-10FB-E326-DBE92F71EB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4B4028D-58D9-8777-6B59-01BBF0C15100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92269C3-FF0C-7C44-4411-B6E8BC7A1B5F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F6187E54-3933-1096-8158-03BE676496F0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4044BDF-29F9-0556-270F-B32E6C561FD6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0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EA430420-ED83-D920-9839-7B88D8DC8844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1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Contrôler l’exécution promotionnelle</a:t>
            </a:r>
            <a:endParaRPr lang="fr-FR" sz="24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DE299728-FCAB-1CA5-0431-42F8429CC24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29B74BD2-1735-4AE5-34C8-E56260009D51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Quels sont les magasins ayant exécuté la promotion / ceux ne l’ayant pas exécuté par produit promotionné de la marque ? 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95283631-A102-FBBA-CEE9-1B3FE24839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94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29EE7E2D-9DE6-1ED4-99A8-68431B656C28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A259F128-EAFD-4113-32DF-0C48E204AFBF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XXX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6857AF9C-7582-999F-BD41-3BB904781D9F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278CD0A4-21E8-F474-630D-7D017BE859CE}"/>
              </a:ext>
            </a:extLst>
          </p:cNvPr>
          <p:cNvSpPr/>
          <p:nvPr/>
        </p:nvSpPr>
        <p:spPr>
          <a:xfrm>
            <a:off x="898069" y="2243165"/>
            <a:ext cx="5197931" cy="393389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rte de la fréquence promotionnelle du produit :</a:t>
            </a:r>
          </a:p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=&gt; Intensité promotionnelle moyenne par région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6A8E02F-0A68-A61A-76A4-C4346BEE29B1}"/>
              </a:ext>
            </a:extLst>
          </p:cNvPr>
          <p:cNvSpPr/>
          <p:nvPr/>
        </p:nvSpPr>
        <p:spPr>
          <a:xfrm>
            <a:off x="6278568" y="2243165"/>
            <a:ext cx="5015364" cy="393389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Taille magasin x fréquence promotionnelle</a:t>
            </a:r>
          </a:p>
        </p:txBody>
      </p:sp>
    </p:spTree>
    <p:extLst>
      <p:ext uri="{BB962C8B-B14F-4D97-AF65-F5344CB8AC3E}">
        <p14:creationId xmlns:p14="http://schemas.microsoft.com/office/powerpoint/2010/main" val="1074591470"/>
      </p:ext>
    </p:extLst>
  </p:cSld>
  <p:clrMapOvr>
    <a:masterClrMapping/>
  </p:clrMapOvr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14D4B37-8AB4-11A6-631E-2B45B0D207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6FDF318-038B-511B-36CF-D58FAFB1F25F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8837D9F-DC2B-BA4D-3695-BF1489745713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6A253063-87E4-6768-EE3C-F88180414832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8E12EF6-9C48-6470-44C7-3DB742AFFBEC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0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997611F5-22F8-A56C-19B1-B79F42421BF9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1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Contrôler l’exécution promotionnelle</a:t>
            </a:r>
            <a:endParaRPr lang="fr-FR" sz="24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97C5AC89-6B0C-970C-8823-53B2A844E83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EF5EEAA3-4465-8FF6-4940-21C2C217E1A7}"/>
              </a:ext>
            </a:extLst>
          </p:cNvPr>
          <p:cNvSpPr txBox="1"/>
          <p:nvPr/>
        </p:nvSpPr>
        <p:spPr>
          <a:xfrm>
            <a:off x="898070" y="492774"/>
            <a:ext cx="10760998" cy="463846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Les produits en promotion ont-ils bien été mis en avant sur la page ? 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16B404A6-88EA-BA31-EBA5-D29CC45917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95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317234E6-FAE4-32ED-10B3-FDFE62FC4317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94CF6036-DC9A-7FDD-AD40-A91ACF0E0182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XXX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91DF43CD-F55A-EBA6-992D-A558699B2B52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B0F42D99-8502-63A1-5204-0FC939760CDE}"/>
              </a:ext>
            </a:extLst>
          </p:cNvPr>
          <p:cNvSpPr/>
          <p:nvPr/>
        </p:nvSpPr>
        <p:spPr>
          <a:xfrm>
            <a:off x="898069" y="2243165"/>
            <a:ext cx="6583385" cy="393389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Baseline </a:t>
            </a:r>
          </a:p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On prend tous les magasins en promotion (peu importe la date) ET distribués en continue (sans rupture)</a:t>
            </a:r>
          </a:p>
          <a:p>
            <a:pPr lvl="1"/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On regarde la position moyenne en S-3, S-2; S-1, S,,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tc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.</a:t>
            </a:r>
          </a:p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On ajoute une 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baseline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sur les 3 semaines glissantes hors promo)</a:t>
            </a:r>
          </a:p>
          <a:p>
            <a:pPr lvl="1"/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ATTENTION POUR LA PARTIE BASELINE ON FERA UNE TABLE UNIFIÉE (on réutilisera la méthodo pour la DN)</a:t>
            </a:r>
          </a:p>
          <a:p>
            <a:pPr lvl="1"/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4752759"/>
      </p:ext>
    </p:extLst>
  </p:cSld>
  <p:clrMapOvr>
    <a:masterClrMapping/>
  </p:clrMapOvr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04A6AE-6B95-4415-2456-E357131460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4599953-15CB-E2E0-B942-E47FBC973E69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BF55627-C059-8962-C70D-39166344136F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87CA01F0-E526-CDDA-FD4C-3714CE50E1CC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E0CED56-FA31-85C3-9AC8-8703515EA53D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0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8BE896A4-0149-A91F-BFCD-2071DBA4908E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2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Mesurer l’impact sur la distribution numérique</a:t>
            </a:r>
            <a:endParaRPr lang="fr-FR" sz="24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A4F4BEEF-B67E-F17E-51D4-2ED45D3B742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E08D936-4142-624C-B08C-08EF4B57B560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Quel a été l’impact des promotions sur la distribution numérique durant les semaines de promotion ? 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09DAB1DF-4725-65D3-4E19-143EB523F6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96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885A86FF-DF40-070A-4875-424775D78358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B8C324FF-76B1-7D8B-ECA7-DA9148E0C07F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XXX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101AB9F2-836B-ED5B-28A8-DF24E690452D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80E741B2-86F9-6716-7356-F66110F81822}"/>
              </a:ext>
            </a:extLst>
          </p:cNvPr>
          <p:cNvSpPr/>
          <p:nvPr/>
        </p:nvSpPr>
        <p:spPr>
          <a:xfrm>
            <a:off x="898069" y="2243165"/>
            <a:ext cx="6583385" cy="393389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Baseline </a:t>
            </a:r>
          </a:p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On prend tous les magasins en promotion (peu importe la date) ET distribués en continue (sans rupture)</a:t>
            </a:r>
          </a:p>
          <a:p>
            <a:pPr lvl="1"/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On regarde la position moyenne en S-3, S-2; S-1, S,,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tc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.</a:t>
            </a:r>
          </a:p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On ajoute une 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baseline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sur les 3 semaines glissantes hors promo)</a:t>
            </a:r>
          </a:p>
          <a:p>
            <a:pPr lvl="1"/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ATTENTION POUR LA PARTIE BASELINE ON FERA UNE TABLE UNIFIÉE (on réutilisera la méthodo pour la DN)</a:t>
            </a:r>
          </a:p>
          <a:p>
            <a:pPr lvl="1"/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9133266"/>
      </p:ext>
    </p:extLst>
  </p:cSld>
  <p:clrMapOvr>
    <a:masterClrMapping/>
  </p:clrMapOvr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EDBFB3-3EA4-3AC9-8203-A5BF484DE0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E942CC1-A7DD-3897-0B35-BF2D9B9D6E17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7DADD2E-8B30-F5F4-605E-EFAF9EEE84A5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49A02A39-BC95-9CC6-6437-D013FC3B8C30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EE515E8-416E-8734-1D58-F62BE147FC17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0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0742A24D-51B1-838B-436F-B90B934237E2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2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Mesurer l’impact sur la distribution numérique</a:t>
            </a:r>
            <a:endParaRPr lang="fr-FR" sz="24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B25A6D2E-8C0C-3E85-1413-7E3CC013350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0294B5D-1D24-45D1-4D57-E820759C40A0}"/>
              </a:ext>
            </a:extLst>
          </p:cNvPr>
          <p:cNvSpPr txBox="1"/>
          <p:nvPr/>
        </p:nvSpPr>
        <p:spPr>
          <a:xfrm>
            <a:off x="898070" y="492774"/>
            <a:ext cx="10760998" cy="463846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Cet impact est il différencié par mécanique ?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3197824C-5233-05E6-4414-39FE91F7C8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97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E575738-08A4-1400-0477-CBD336CB47CC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FBA01C39-7E32-1442-6298-0885FDB28428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XXX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7C0792E9-7C9A-627F-846A-FCF048B836A0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93815586-0C13-50DA-8990-6C9147DF1C97}"/>
              </a:ext>
            </a:extLst>
          </p:cNvPr>
          <p:cNvSpPr/>
          <p:nvPr/>
        </p:nvSpPr>
        <p:spPr>
          <a:xfrm>
            <a:off x="898070" y="2243165"/>
            <a:ext cx="4925558" cy="31959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rendre carrefour ; </a:t>
            </a:r>
          </a:p>
          <a:p>
            <a:pPr lvl="1"/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Barchart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avec l’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uplift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de 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haquue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mécanique 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rmotionnelle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(en magasins gagnés et en % du parc)</a:t>
            </a:r>
          </a:p>
        </p:txBody>
      </p:sp>
    </p:spTree>
    <p:extLst>
      <p:ext uri="{BB962C8B-B14F-4D97-AF65-F5344CB8AC3E}">
        <p14:creationId xmlns:p14="http://schemas.microsoft.com/office/powerpoint/2010/main" val="1388085144"/>
      </p:ext>
    </p:extLst>
  </p:cSld>
  <p:clrMapOvr>
    <a:masterClrMapping/>
  </p:clrMapOvr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76F44AD-A9E6-9702-C7F2-2741312C3E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EB31FA1-87FB-240D-5B4D-ADEA88F1B706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F958F51-CDA9-E101-4257-02E935102E52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0248E6CB-75BF-4061-C43C-9EF23FAD4F21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1EAC9E4-A2CA-B92A-D946-9D992BB9DF2D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0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81E5674C-D00A-4801-DC20-B8DDEF015BC3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2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Mesurer l’impact sur la distribution numérique</a:t>
            </a:r>
            <a:endParaRPr lang="fr-FR" sz="24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14B0FCC1-0B79-3A16-8E4A-DAF5D101FA7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6A6A3111-4D6B-BAAB-5BB3-553F4EB4C519}"/>
              </a:ext>
            </a:extLst>
          </p:cNvPr>
          <p:cNvSpPr txBox="1"/>
          <p:nvPr/>
        </p:nvSpPr>
        <p:spPr>
          <a:xfrm>
            <a:off x="898070" y="492774"/>
            <a:ext cx="10760998" cy="463846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Cet impact est il différencié par produit ?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D33E9D5C-278A-7349-12E0-51C7B30EEA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98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0A8FC9A-6AAD-F694-2A59-0FD8F82FF54A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7F01F99E-BB87-64BC-7BBA-CE44E67C7FDC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XXX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CCB78D05-7676-D8E1-D229-4F64B7D143CC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E7680A7A-A2B3-0A17-A95A-253302F3ED6D}"/>
              </a:ext>
            </a:extLst>
          </p:cNvPr>
          <p:cNvSpPr/>
          <p:nvPr/>
        </p:nvSpPr>
        <p:spPr>
          <a:xfrm>
            <a:off x="898070" y="2258100"/>
            <a:ext cx="4925558" cy="31959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rendre carrefour ; </a:t>
            </a:r>
          </a:p>
          <a:p>
            <a:pPr lvl="1"/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Barchart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avec l’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uplift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de 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haquue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produit (en magasins gagnés et en % du parc)</a:t>
            </a:r>
          </a:p>
        </p:txBody>
      </p:sp>
    </p:spTree>
    <p:extLst>
      <p:ext uri="{BB962C8B-B14F-4D97-AF65-F5344CB8AC3E}">
        <p14:creationId xmlns:p14="http://schemas.microsoft.com/office/powerpoint/2010/main" val="3877164621"/>
      </p:ext>
    </p:extLst>
  </p:cSld>
  <p:clrMapOvr>
    <a:masterClrMapping/>
  </p:clrMapOvr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C230175-DC85-2B05-AB4A-1A0F674F3C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4685326-B686-1CBC-C82F-263C30FEB81D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80B2D7A-824B-1549-AD19-5AE0582824A4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C8AC9564-9EAA-B0A6-652C-724F8A86382F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572920-9162-82BA-C930-A274A7C5085E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0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E244F00A-0D4A-1767-089C-F5D11BB78645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2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Mesurer l’impact sur la distribution numérique</a:t>
            </a:r>
            <a:endParaRPr lang="fr-FR" sz="20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29999427-6E33-7B9D-A8DD-8CBFA7D573E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D0FF8E1E-321A-796E-C788-B7B6B63042C0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Mes magasins conquis ont-ils été durablement conservés dans la distribution numérique et pendant combien de temps en moyenne ?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FF951CA5-9741-5B75-7393-9E748B761C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99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77A6342-79B3-C1D9-8154-8AF16A361750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054935C5-F6E9-E5E3-7AB2-08AB5404D2D6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XXX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87BEE9CE-600D-08AC-106A-E9BD8F3A8322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9D58DAD8-9927-F180-DF80-09786D1EAEC0}"/>
              </a:ext>
            </a:extLst>
          </p:cNvPr>
          <p:cNvSpPr/>
          <p:nvPr/>
        </p:nvSpPr>
        <p:spPr>
          <a:xfrm>
            <a:off x="759836" y="2243165"/>
            <a:ext cx="6583385" cy="393389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Analyse des magasins gagnés dans les 2 semaines précédant la promotion (ou durant la promo) ayant exécuté la promotion (i.e. 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hort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)</a:t>
            </a:r>
            <a:b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</a:br>
            <a:b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</a:b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On mesure la part des magasins qui 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roposentt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encore le produit à </a:t>
            </a:r>
            <a:b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</a:b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+1</a:t>
            </a:r>
          </a:p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+2</a:t>
            </a:r>
            <a:b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</a:b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tc.</a:t>
            </a:r>
          </a:p>
          <a:p>
            <a:pPr lvl="1"/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ela nous donne une courbe avec une aire descendante. </a:t>
            </a:r>
            <a:b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</a:br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F7A41DC-67FF-921D-7663-EE555A93A56F}"/>
              </a:ext>
            </a:extLst>
          </p:cNvPr>
          <p:cNvSpPr/>
          <p:nvPr/>
        </p:nvSpPr>
        <p:spPr>
          <a:xfrm>
            <a:off x="7697422" y="2243165"/>
            <a:ext cx="2404522" cy="393389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On ajoute une barre 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tacked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sur la droite pour afficher le % « structurellement gagné » </a:t>
            </a:r>
          </a:p>
          <a:p>
            <a:pPr lvl="1"/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  <a:sym typeface="Wingdings" panose="05000000000000000000" pitchFamily="2" charset="2"/>
              </a:rPr>
              <a:t> Après 4 semaines, 20% des magasins gagnés grâce à la promotion proposaient encore le produit XXX</a:t>
            </a:r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91601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JXrq34qAAQFZG813oFO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JXrq34qAAQFZG813oFOg"/>
</p:tagLst>
</file>

<file path=ppt/theme/theme1.xml><?xml version="1.0" encoding="utf-8"?>
<a:theme xmlns:a="http://schemas.openxmlformats.org/drawingml/2006/main" name="Office Theme">
  <a:themeElements>
    <a:clrScheme name="SAMMPO 02">
      <a:dk1>
        <a:srgbClr val="1B1C1F"/>
      </a:dk1>
      <a:lt1>
        <a:sysClr val="window" lastClr="FFFFFF"/>
      </a:lt1>
      <a:dk2>
        <a:srgbClr val="20307E"/>
      </a:dk2>
      <a:lt2>
        <a:srgbClr val="F8F8FA"/>
      </a:lt2>
      <a:accent1>
        <a:srgbClr val="D6283D"/>
      </a:accent1>
      <a:accent2>
        <a:srgbClr val="457B9D"/>
      </a:accent2>
      <a:accent3>
        <a:srgbClr val="3D3D3D"/>
      </a:accent3>
      <a:accent4>
        <a:srgbClr val="2FB3B0"/>
      </a:accent4>
      <a:accent5>
        <a:srgbClr val="4A5198"/>
      </a:accent5>
      <a:accent6>
        <a:srgbClr val="70AD47"/>
      </a:accent6>
      <a:hlink>
        <a:srgbClr val="954F72"/>
      </a:hlink>
      <a:folHlink>
        <a:srgbClr val="AEABAB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>
            <a:lumMod val="20000"/>
            <a:lumOff val="80000"/>
          </a:schemeClr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8522</TotalTime>
  <Words>9048</Words>
  <Application>Microsoft Office PowerPoint</Application>
  <PresentationFormat>Widescreen</PresentationFormat>
  <Paragraphs>1628</Paragraphs>
  <Slides>108</Slides>
  <Notes>10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8</vt:i4>
      </vt:variant>
    </vt:vector>
  </HeadingPairs>
  <TitlesOfParts>
    <vt:vector size="117" baseType="lpstr">
      <vt:lpstr>Aptos</vt:lpstr>
      <vt:lpstr>Aptos Black</vt:lpstr>
      <vt:lpstr>Aptos Display</vt:lpstr>
      <vt:lpstr>Arial</vt:lpstr>
      <vt:lpstr>Lato</vt:lpstr>
      <vt:lpstr>Lato Black</vt:lpstr>
      <vt:lpstr>Wingdings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Vincent Moschetta</dc:creator>
  <cp:lastModifiedBy>Vincent Moschetta</cp:lastModifiedBy>
  <cp:revision>1061</cp:revision>
  <dcterms:created xsi:type="dcterms:W3CDTF">2025-05-09T11:21:43Z</dcterms:created>
  <dcterms:modified xsi:type="dcterms:W3CDTF">2025-10-02T19:59:11Z</dcterms:modified>
</cp:coreProperties>
</file>